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3" r:id="rId2"/>
    <p:sldMasterId id="2147483664" r:id="rId3"/>
  </p:sldMasterIdLst>
  <p:notesMasterIdLst>
    <p:notesMasterId r:id="rId11"/>
  </p:notesMasterIdLst>
  <p:sldIdLst>
    <p:sldId id="386" r:id="rId4"/>
    <p:sldId id="376" r:id="rId5"/>
    <p:sldId id="389" r:id="rId6"/>
    <p:sldId id="390" r:id="rId7"/>
    <p:sldId id="385" r:id="rId8"/>
    <p:sldId id="387" r:id="rId9"/>
    <p:sldId id="388" r:id="rId10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1" autoAdjust="0"/>
    <p:restoredTop sz="94609" autoAdjust="0"/>
  </p:normalViewPr>
  <p:slideViewPr>
    <p:cSldViewPr snapToGrid="0">
      <p:cViewPr varScale="1">
        <p:scale>
          <a:sx n="80" d="100"/>
          <a:sy n="80" d="100"/>
        </p:scale>
        <p:origin x="62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6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7F5F6E-D58A-4C4A-84C6-624A21AFC8E0}" type="datetimeFigureOut">
              <a:rPr lang="zh-CN" altLang="en-US" smtClean="0"/>
              <a:t>2025/1/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3EEDEF-B665-4359-9B14-A69C9A2D9CB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象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集团，老牌国有企业 资产众多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T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建设周期久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情报收集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CP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备案库 拉取 全部主域名， 结合主域名就行子域名及其运行服务的指纹信息搜集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Github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码云 搜分公司信息泄露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获得资产状况和部分人员名单和密码信息（过期）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-》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作密码字典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 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定方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击面太大，几百个子域名，需要选择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定位到靶标承建单位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成立时间短，从招聘信息看为研发类公司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200-30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人，研发运维岗位，无安全岗位，估计防守薄弱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边界突破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外部攻击面进行全面的漏洞挖掘：确定漏洞接口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+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武器库配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外暴露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M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系统，版本旧，通过自研武器库获取控制权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自研武器库：自动化漏洞利用平台，集成上百种常见漏洞利用脚本，只需要输入漏洞地址选取特定漏洞类型，即可一键获取服务器控制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强化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外网进到内网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后门加固，木马进程做了隐藏处理，确保服务器重启也不丢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部侦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到的是一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ock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虚拟机，同网段无其他服务器，是孤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宿主机器连接其他内网，复用宿主网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采取野蛮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常用内网网段全部扫描（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72.16 192.168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）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没有结果，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网段，太大，只扫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80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找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itle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名字为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JumpServ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Web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主机，是堡垒机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网服务器的跳板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但设置了双因素认证。无奈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发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S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服务开放，进行弱口令爆破，成功爆破，获取高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弱口令来自信息收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横向移动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下堡垒机，看到控制的全部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控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官网系统、代码托管系统、项目管理系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基本确定靶机系统就在这批内网主机中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深度分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定了靶机系统，但是无法连接，怀疑关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转新思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代码托管中找到一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 Key,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利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可以进行云主机管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堡垒机信息显示靶标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云上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主机信息进行探测，经过大量尝试，最终对托管主机进行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实存在关机下线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破靶标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调用云上开放接口将靶标远程重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通过堡垒机连入靶标，截图留证。</a:t>
            </a:r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574276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象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集团，老牌国有企业 资产众多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T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建设周期久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情报收集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CP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备案库 拉取 全部主域名， 结合主域名就行子域名及其运行服务的指纹信息搜集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Github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码云 搜分公司信息泄露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获得资产状况和部分人员名单和密码信息（过期）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-》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作密码字典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 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定方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击面太大，几百个子域名，需要选择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定位到靶标承建单位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成立时间短，从招聘信息看为研发类公司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200-30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人，研发运维岗位，无安全岗位，估计防守薄弱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边界突破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外部攻击面进行全面的漏洞挖掘：确定漏洞接口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+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武器库配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外暴露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M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系统，版本旧，通过自研武器库获取控制权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自研武器库：自动化漏洞利用平台，集成上百种常见漏洞利用脚本，只需要输入漏洞地址选取特定漏洞类型，即可一键获取服务器控制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强化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外网进到内网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后门加固，木马进程做了隐藏处理，确保服务器重启也不丢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部侦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到的是一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ock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虚拟机，同网段无其他服务器，是孤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宿主机器连接其他内网，复用宿主网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采取野蛮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常用内网网段全部扫描（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72.16 192.168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）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没有结果，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网段，太大，只扫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80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找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itle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名字为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JumpServ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Web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主机，是堡垒机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网服务器的跳板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但设置了双因素认证。无奈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发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S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服务开放，进行弱口令爆破，成功爆破，获取高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弱口令来自信息收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横向移动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下堡垒机，看到控制的全部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控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官网系统、代码托管系统、项目管理系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基本确定靶机系统就在这批内网主机中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深度分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定了靶机系统，但是无法连接，怀疑关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转新思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代码托管中找到一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 Key,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利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可以进行云主机管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堡垒机信息显示靶标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云上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主机信息进行探测，经过大量尝试，最终对托管主机进行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实存在关机下线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破靶标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调用云上开放接口将靶标远程重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通过堡垒机连入靶标，截图留证。</a:t>
            </a:r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1581907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象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集团，老牌国有企业 资产众多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T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建设周期久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情报收集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CP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备案库 拉取 全部主域名， 结合主域名就行子域名及其运行服务的指纹信息搜集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Github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码云 搜分公司信息泄露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获得资产状况和部分人员名单和密码信息（过期）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-》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作密码字典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 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定方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击面太大，几百个子域名，需要选择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定位到靶标承建单位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成立时间短，从招聘信息看为研发类公司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200-30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人，研发运维岗位，无安全岗位，估计防守薄弱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边界突破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外部攻击面进行全面的漏洞挖掘：确定漏洞接口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+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武器库配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外暴露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M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系统，版本旧，通过自研武器库获取控制权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自研武器库：自动化漏洞利用平台，集成上百种常见漏洞利用脚本，只需要输入漏洞地址选取特定漏洞类型，即可一键获取服务器控制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强化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外网进到内网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后门加固，木马进程做了隐藏处理，确保服务器重启也不丢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部侦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到的是一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ock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虚拟机，同网段无其他服务器，是孤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宿主机器连接其他内网，复用宿主网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采取野蛮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常用内网网段全部扫描（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72.16 192.168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）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没有结果，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网段，太大，只扫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80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找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itle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名字为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JumpServ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Web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主机，是堡垒机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网服务器的跳板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但设置了双因素认证。无奈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发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S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服务开放，进行弱口令爆破，成功爆破，获取高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弱口令来自信息收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横向移动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下堡垒机，看到控制的全部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控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官网系统、代码托管系统、项目管理系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基本确定靶机系统就在这批内网主机中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深度分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定了靶机系统，但是无法连接，怀疑关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转新思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代码托管中找到一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 Key,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利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可以进行云主机管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堡垒机信息显示靶标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云上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主机信息进行探测，经过大量尝试，最终对托管主机进行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实存在关机下线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破靶标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调用云上开放接口将靶标远程重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通过堡垒机连入靶标，截图留证。</a:t>
            </a:r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1120456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级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56"/>
          <p:cNvSpPr>
            <a:spLocks noEditPoints="1"/>
          </p:cNvSpPr>
          <p:nvPr userDrawn="1"/>
        </p:nvSpPr>
        <p:spPr bwMode="auto">
          <a:xfrm rot="9423817">
            <a:off x="1601991" y="-729467"/>
            <a:ext cx="4209796" cy="10420539"/>
          </a:xfrm>
          <a:custGeom>
            <a:avLst/>
            <a:gdLst>
              <a:gd name="T0" fmla="*/ 2110 w 2784"/>
              <a:gd name="T1" fmla="*/ 3712 h 6896"/>
              <a:gd name="T2" fmla="*/ 2031 w 2784"/>
              <a:gd name="T3" fmla="*/ 4146 h 6896"/>
              <a:gd name="T4" fmla="*/ 1833 w 2784"/>
              <a:gd name="T5" fmla="*/ 4790 h 6896"/>
              <a:gd name="T6" fmla="*/ 1608 w 2784"/>
              <a:gd name="T7" fmla="*/ 5170 h 6896"/>
              <a:gd name="T8" fmla="*/ 1364 w 2784"/>
              <a:gd name="T9" fmla="*/ 5519 h 6896"/>
              <a:gd name="T10" fmla="*/ 0 w 2784"/>
              <a:gd name="T11" fmla="*/ 108 h 6896"/>
              <a:gd name="T12" fmla="*/ 394 w 2784"/>
              <a:gd name="T13" fmla="*/ 300 h 6896"/>
              <a:gd name="T14" fmla="*/ 915 w 2784"/>
              <a:gd name="T15" fmla="*/ 649 h 6896"/>
              <a:gd name="T16" fmla="*/ 1224 w 2784"/>
              <a:gd name="T17" fmla="*/ 1007 h 6896"/>
              <a:gd name="T18" fmla="*/ 1494 w 2784"/>
              <a:gd name="T19" fmla="*/ 1267 h 6896"/>
              <a:gd name="T20" fmla="*/ 1816 w 2784"/>
              <a:gd name="T21" fmla="*/ 1808 h 6896"/>
              <a:gd name="T22" fmla="*/ 2038 w 2784"/>
              <a:gd name="T23" fmla="*/ 2269 h 6896"/>
              <a:gd name="T24" fmla="*/ 2110 w 2784"/>
              <a:gd name="T25" fmla="*/ 2836 h 6896"/>
              <a:gd name="T26" fmla="*/ 2342 w 2784"/>
              <a:gd name="T27" fmla="*/ 3394 h 6896"/>
              <a:gd name="T28" fmla="*/ 2378 w 2784"/>
              <a:gd name="T29" fmla="*/ 3759 h 6896"/>
              <a:gd name="T30" fmla="*/ 2187 w 2784"/>
              <a:gd name="T31" fmla="*/ 4342 h 6896"/>
              <a:gd name="T32" fmla="*/ 2000 w 2784"/>
              <a:gd name="T33" fmla="*/ 4795 h 6896"/>
              <a:gd name="T34" fmla="*/ 1733 w 2784"/>
              <a:gd name="T35" fmla="*/ 5385 h 6896"/>
              <a:gd name="T36" fmla="*/ 1476 w 2784"/>
              <a:gd name="T37" fmla="*/ 5718 h 6896"/>
              <a:gd name="T38" fmla="*/ 1180 w 2784"/>
              <a:gd name="T39" fmla="*/ 6020 h 6896"/>
              <a:gd name="T40" fmla="*/ 489 w 2784"/>
              <a:gd name="T41" fmla="*/ 122 h 6896"/>
              <a:gd name="T42" fmla="*/ 854 w 2784"/>
              <a:gd name="T43" fmla="*/ 359 h 6896"/>
              <a:gd name="T44" fmla="*/ 1346 w 2784"/>
              <a:gd name="T45" fmla="*/ 788 h 6896"/>
              <a:gd name="T46" fmla="*/ 1610 w 2784"/>
              <a:gd name="T47" fmla="*/ 1091 h 6896"/>
              <a:gd name="T48" fmla="*/ 1846 w 2784"/>
              <a:gd name="T49" fmla="*/ 1512 h 6896"/>
              <a:gd name="T50" fmla="*/ 2119 w 2784"/>
              <a:gd name="T51" fmla="*/ 2109 h 6896"/>
              <a:gd name="T52" fmla="*/ 2301 w 2784"/>
              <a:gd name="T53" fmla="*/ 2475 h 6896"/>
              <a:gd name="T54" fmla="*/ 2336 w 2784"/>
              <a:gd name="T55" fmla="*/ 3047 h 6896"/>
              <a:gd name="T56" fmla="*/ 2542 w 2784"/>
              <a:gd name="T57" fmla="*/ 3609 h 6896"/>
              <a:gd name="T58" fmla="*/ 2561 w 2784"/>
              <a:gd name="T59" fmla="*/ 3972 h 6896"/>
              <a:gd name="T60" fmla="*/ 2395 w 2784"/>
              <a:gd name="T61" fmla="*/ 4598 h 6896"/>
              <a:gd name="T62" fmla="*/ 2174 w 2784"/>
              <a:gd name="T63" fmla="*/ 5049 h 6896"/>
              <a:gd name="T64" fmla="*/ 1851 w 2784"/>
              <a:gd name="T65" fmla="*/ 5518 h 6896"/>
              <a:gd name="T66" fmla="*/ 1587 w 2784"/>
              <a:gd name="T67" fmla="*/ 5923 h 6896"/>
              <a:gd name="T68" fmla="*/ 1287 w 2784"/>
              <a:gd name="T69" fmla="*/ 6189 h 6896"/>
              <a:gd name="T70" fmla="*/ 774 w 2784"/>
              <a:gd name="T71" fmla="*/ 6601 h 6896"/>
              <a:gd name="T72" fmla="*/ 952 w 2784"/>
              <a:gd name="T73" fmla="*/ 179 h 6896"/>
              <a:gd name="T74" fmla="*/ 1441 w 2784"/>
              <a:gd name="T75" fmla="*/ 606 h 6896"/>
              <a:gd name="T76" fmla="*/ 1724 w 2784"/>
              <a:gd name="T77" fmla="*/ 922 h 6896"/>
              <a:gd name="T78" fmla="*/ 1969 w 2784"/>
              <a:gd name="T79" fmla="*/ 1297 h 6896"/>
              <a:gd name="T80" fmla="*/ 2293 w 2784"/>
              <a:gd name="T81" fmla="*/ 1858 h 6896"/>
              <a:gd name="T82" fmla="*/ 2363 w 2784"/>
              <a:gd name="T83" fmla="*/ 2265 h 6896"/>
              <a:gd name="T84" fmla="*/ 2524 w 2784"/>
              <a:gd name="T85" fmla="*/ 2847 h 6896"/>
              <a:gd name="T86" fmla="*/ 2754 w 2784"/>
              <a:gd name="T87" fmla="*/ 3360 h 6896"/>
              <a:gd name="T88" fmla="*/ 2731 w 2784"/>
              <a:gd name="T89" fmla="*/ 3722 h 6896"/>
              <a:gd name="T90" fmla="*/ 2571 w 2784"/>
              <a:gd name="T91" fmla="*/ 4394 h 6896"/>
              <a:gd name="T92" fmla="*/ 2522 w 2784"/>
              <a:gd name="T93" fmla="*/ 4803 h 6896"/>
              <a:gd name="T94" fmla="*/ 2202 w 2784"/>
              <a:gd name="T95" fmla="*/ 5348 h 6896"/>
              <a:gd name="T96" fmla="*/ 1968 w 2784"/>
              <a:gd name="T97" fmla="*/ 5780 h 6896"/>
              <a:gd name="T98" fmla="*/ 1697 w 2784"/>
              <a:gd name="T99" fmla="*/ 6057 h 6896"/>
              <a:gd name="T100" fmla="*/ 1213 w 2784"/>
              <a:gd name="T101" fmla="*/ 6526 h 6896"/>
              <a:gd name="T102" fmla="*/ 888 w 2784"/>
              <a:gd name="T103" fmla="*/ 6779 h 6896"/>
              <a:gd name="T104" fmla="*/ 1229 w 2784"/>
              <a:gd name="T105" fmla="*/ 132 h 6896"/>
              <a:gd name="T106" fmla="*/ 1549 w 2784"/>
              <a:gd name="T107" fmla="*/ 418 h 6896"/>
              <a:gd name="T108" fmla="*/ 1837 w 2784"/>
              <a:gd name="T109" fmla="*/ 741 h 6896"/>
              <a:gd name="T110" fmla="*/ 2206 w 2784"/>
              <a:gd name="T111" fmla="*/ 1272 h 6896"/>
              <a:gd name="T112" fmla="*/ 2390 w 2784"/>
              <a:gd name="T113" fmla="*/ 1655 h 6896"/>
              <a:gd name="T114" fmla="*/ 2613 w 2784"/>
              <a:gd name="T115" fmla="*/ 2283 h 6896"/>
              <a:gd name="T116" fmla="*/ 2703 w 2784"/>
              <a:gd name="T117" fmla="*/ 2662 h 6896"/>
              <a:gd name="T118" fmla="*/ 2719 w 2784"/>
              <a:gd name="T119" fmla="*/ 3113 h 6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784" h="6896">
                <a:moveTo>
                  <a:pt x="2137" y="3273"/>
                </a:moveTo>
                <a:cubicBezTo>
                  <a:pt x="2106" y="3273"/>
                  <a:pt x="2081" y="3298"/>
                  <a:pt x="2081" y="3329"/>
                </a:cubicBezTo>
                <a:cubicBezTo>
                  <a:pt x="2081" y="3360"/>
                  <a:pt x="2106" y="3385"/>
                  <a:pt x="2137" y="3385"/>
                </a:cubicBezTo>
                <a:cubicBezTo>
                  <a:pt x="2167" y="3385"/>
                  <a:pt x="2192" y="3360"/>
                  <a:pt x="2192" y="3329"/>
                </a:cubicBezTo>
                <a:cubicBezTo>
                  <a:pt x="2192" y="3298"/>
                  <a:pt x="2167" y="3273"/>
                  <a:pt x="2137" y="3273"/>
                </a:cubicBezTo>
                <a:close/>
                <a:moveTo>
                  <a:pt x="2181" y="3544"/>
                </a:moveTo>
                <a:cubicBezTo>
                  <a:pt x="2181" y="3516"/>
                  <a:pt x="2158" y="3493"/>
                  <a:pt x="2130" y="3493"/>
                </a:cubicBezTo>
                <a:cubicBezTo>
                  <a:pt x="2102" y="3493"/>
                  <a:pt x="2079" y="3516"/>
                  <a:pt x="2079" y="3544"/>
                </a:cubicBezTo>
                <a:cubicBezTo>
                  <a:pt x="2079" y="3572"/>
                  <a:pt x="2102" y="3595"/>
                  <a:pt x="2130" y="3595"/>
                </a:cubicBezTo>
                <a:cubicBezTo>
                  <a:pt x="2158" y="3595"/>
                  <a:pt x="2181" y="3572"/>
                  <a:pt x="2181" y="3544"/>
                </a:cubicBezTo>
                <a:close/>
                <a:moveTo>
                  <a:pt x="2157" y="3758"/>
                </a:moveTo>
                <a:cubicBezTo>
                  <a:pt x="2157" y="3733"/>
                  <a:pt x="2136" y="3712"/>
                  <a:pt x="2110" y="3712"/>
                </a:cubicBezTo>
                <a:cubicBezTo>
                  <a:pt x="2084" y="3712"/>
                  <a:pt x="2063" y="3733"/>
                  <a:pt x="2063" y="3758"/>
                </a:cubicBezTo>
                <a:cubicBezTo>
                  <a:pt x="2063" y="3784"/>
                  <a:pt x="2084" y="3805"/>
                  <a:pt x="2110" y="3805"/>
                </a:cubicBezTo>
                <a:cubicBezTo>
                  <a:pt x="2136" y="3805"/>
                  <a:pt x="2157" y="3784"/>
                  <a:pt x="2157" y="3758"/>
                </a:cubicBezTo>
                <a:close/>
                <a:moveTo>
                  <a:pt x="2118" y="3971"/>
                </a:moveTo>
                <a:cubicBezTo>
                  <a:pt x="2118" y="3949"/>
                  <a:pt x="2100" y="3930"/>
                  <a:pt x="2077" y="3930"/>
                </a:cubicBezTo>
                <a:cubicBezTo>
                  <a:pt x="2054" y="3930"/>
                  <a:pt x="2036" y="3949"/>
                  <a:pt x="2036" y="3971"/>
                </a:cubicBezTo>
                <a:cubicBezTo>
                  <a:pt x="2036" y="3994"/>
                  <a:pt x="2054" y="4012"/>
                  <a:pt x="2077" y="4012"/>
                </a:cubicBezTo>
                <a:cubicBezTo>
                  <a:pt x="2100" y="4012"/>
                  <a:pt x="2118" y="3994"/>
                  <a:pt x="2118" y="3971"/>
                </a:cubicBezTo>
                <a:close/>
                <a:moveTo>
                  <a:pt x="1996" y="4182"/>
                </a:moveTo>
                <a:cubicBezTo>
                  <a:pt x="1996" y="4201"/>
                  <a:pt x="2011" y="4217"/>
                  <a:pt x="2031" y="4217"/>
                </a:cubicBezTo>
                <a:cubicBezTo>
                  <a:pt x="2050" y="4217"/>
                  <a:pt x="2066" y="4201"/>
                  <a:pt x="2066" y="4182"/>
                </a:cubicBezTo>
                <a:cubicBezTo>
                  <a:pt x="2066" y="4162"/>
                  <a:pt x="2050" y="4146"/>
                  <a:pt x="2031" y="4146"/>
                </a:cubicBezTo>
                <a:cubicBezTo>
                  <a:pt x="2011" y="4146"/>
                  <a:pt x="1996" y="4162"/>
                  <a:pt x="1996" y="4182"/>
                </a:cubicBezTo>
                <a:close/>
                <a:moveTo>
                  <a:pt x="1972" y="4418"/>
                </a:moveTo>
                <a:cubicBezTo>
                  <a:pt x="1988" y="4418"/>
                  <a:pt x="2001" y="4405"/>
                  <a:pt x="2001" y="4389"/>
                </a:cubicBezTo>
                <a:cubicBezTo>
                  <a:pt x="2001" y="4373"/>
                  <a:pt x="1988" y="4360"/>
                  <a:pt x="1972" y="4360"/>
                </a:cubicBezTo>
                <a:cubicBezTo>
                  <a:pt x="1956" y="4360"/>
                  <a:pt x="1943" y="4373"/>
                  <a:pt x="1943" y="4389"/>
                </a:cubicBezTo>
                <a:cubicBezTo>
                  <a:pt x="1943" y="4405"/>
                  <a:pt x="1956" y="4418"/>
                  <a:pt x="1972" y="4418"/>
                </a:cubicBezTo>
                <a:close/>
                <a:moveTo>
                  <a:pt x="1923" y="4592"/>
                </a:moveTo>
                <a:cubicBezTo>
                  <a:pt x="1923" y="4579"/>
                  <a:pt x="1913" y="4569"/>
                  <a:pt x="1900" y="4569"/>
                </a:cubicBezTo>
                <a:cubicBezTo>
                  <a:pt x="1888" y="4569"/>
                  <a:pt x="1878" y="4579"/>
                  <a:pt x="1878" y="4592"/>
                </a:cubicBezTo>
                <a:cubicBezTo>
                  <a:pt x="1878" y="4605"/>
                  <a:pt x="1888" y="4615"/>
                  <a:pt x="1900" y="4615"/>
                </a:cubicBezTo>
                <a:cubicBezTo>
                  <a:pt x="1913" y="4615"/>
                  <a:pt x="1923" y="4605"/>
                  <a:pt x="1923" y="4592"/>
                </a:cubicBezTo>
                <a:close/>
                <a:moveTo>
                  <a:pt x="1833" y="4790"/>
                </a:moveTo>
                <a:cubicBezTo>
                  <a:pt x="1833" y="4781"/>
                  <a:pt x="1826" y="4774"/>
                  <a:pt x="1816" y="4774"/>
                </a:cubicBezTo>
                <a:cubicBezTo>
                  <a:pt x="1807" y="4774"/>
                  <a:pt x="1800" y="4781"/>
                  <a:pt x="1800" y="4790"/>
                </a:cubicBezTo>
                <a:cubicBezTo>
                  <a:pt x="1800" y="4800"/>
                  <a:pt x="1807" y="4807"/>
                  <a:pt x="1816" y="4807"/>
                </a:cubicBezTo>
                <a:cubicBezTo>
                  <a:pt x="1826" y="4807"/>
                  <a:pt x="1833" y="4800"/>
                  <a:pt x="1833" y="4790"/>
                </a:cubicBezTo>
                <a:close/>
                <a:moveTo>
                  <a:pt x="1730" y="4983"/>
                </a:moveTo>
                <a:cubicBezTo>
                  <a:pt x="1730" y="4978"/>
                  <a:pt x="1726" y="4973"/>
                  <a:pt x="1720" y="4973"/>
                </a:cubicBezTo>
                <a:cubicBezTo>
                  <a:pt x="1715" y="4973"/>
                  <a:pt x="1711" y="4978"/>
                  <a:pt x="1711" y="4983"/>
                </a:cubicBezTo>
                <a:cubicBezTo>
                  <a:pt x="1711" y="4989"/>
                  <a:pt x="1715" y="4993"/>
                  <a:pt x="1720" y="4993"/>
                </a:cubicBezTo>
                <a:cubicBezTo>
                  <a:pt x="1726" y="4993"/>
                  <a:pt x="1730" y="4989"/>
                  <a:pt x="1730" y="4983"/>
                </a:cubicBezTo>
                <a:close/>
                <a:moveTo>
                  <a:pt x="1618" y="5170"/>
                </a:moveTo>
                <a:cubicBezTo>
                  <a:pt x="1618" y="5167"/>
                  <a:pt x="1616" y="5165"/>
                  <a:pt x="1613" y="5165"/>
                </a:cubicBezTo>
                <a:cubicBezTo>
                  <a:pt x="1610" y="5165"/>
                  <a:pt x="1608" y="5167"/>
                  <a:pt x="1608" y="5170"/>
                </a:cubicBezTo>
                <a:cubicBezTo>
                  <a:pt x="1608" y="5173"/>
                  <a:pt x="1610" y="5175"/>
                  <a:pt x="1613" y="5175"/>
                </a:cubicBezTo>
                <a:cubicBezTo>
                  <a:pt x="1616" y="5175"/>
                  <a:pt x="1618" y="5173"/>
                  <a:pt x="1618" y="5170"/>
                </a:cubicBezTo>
                <a:close/>
                <a:moveTo>
                  <a:pt x="1494" y="5346"/>
                </a:moveTo>
                <a:cubicBezTo>
                  <a:pt x="1492" y="5346"/>
                  <a:pt x="1491" y="5348"/>
                  <a:pt x="1491" y="5349"/>
                </a:cubicBezTo>
                <a:cubicBezTo>
                  <a:pt x="1491" y="5351"/>
                  <a:pt x="1492" y="5352"/>
                  <a:pt x="1494" y="5352"/>
                </a:cubicBezTo>
                <a:cubicBezTo>
                  <a:pt x="1495" y="5352"/>
                  <a:pt x="1497" y="5351"/>
                  <a:pt x="1497" y="5349"/>
                </a:cubicBezTo>
                <a:cubicBezTo>
                  <a:pt x="1497" y="5348"/>
                  <a:pt x="1495" y="5346"/>
                  <a:pt x="1494" y="5346"/>
                </a:cubicBezTo>
                <a:close/>
                <a:moveTo>
                  <a:pt x="1364" y="5519"/>
                </a:moveTo>
                <a:cubicBezTo>
                  <a:pt x="1363" y="5519"/>
                  <a:pt x="1362" y="5520"/>
                  <a:pt x="1362" y="5521"/>
                </a:cubicBezTo>
                <a:cubicBezTo>
                  <a:pt x="1362" y="5522"/>
                  <a:pt x="1363" y="5523"/>
                  <a:pt x="1364" y="5523"/>
                </a:cubicBezTo>
                <a:cubicBezTo>
                  <a:pt x="1365" y="5523"/>
                  <a:pt x="1366" y="5522"/>
                  <a:pt x="1366" y="5521"/>
                </a:cubicBezTo>
                <a:cubicBezTo>
                  <a:pt x="1366" y="5520"/>
                  <a:pt x="1365" y="5519"/>
                  <a:pt x="1364" y="5519"/>
                </a:cubicBezTo>
                <a:close/>
                <a:moveTo>
                  <a:pt x="1225" y="5685"/>
                </a:moveTo>
                <a:cubicBezTo>
                  <a:pt x="1225" y="5684"/>
                  <a:pt x="1225" y="5683"/>
                  <a:pt x="1224" y="5683"/>
                </a:cubicBezTo>
                <a:cubicBezTo>
                  <a:pt x="1223" y="5683"/>
                  <a:pt x="1222" y="5684"/>
                  <a:pt x="1222" y="5685"/>
                </a:cubicBezTo>
                <a:cubicBezTo>
                  <a:pt x="1222" y="5686"/>
                  <a:pt x="1223" y="5686"/>
                  <a:pt x="1224" y="5686"/>
                </a:cubicBezTo>
                <a:cubicBezTo>
                  <a:pt x="1225" y="5686"/>
                  <a:pt x="1225" y="5686"/>
                  <a:pt x="1225" y="5685"/>
                </a:cubicBezTo>
                <a:close/>
                <a:moveTo>
                  <a:pt x="1074" y="5838"/>
                </a:moveTo>
                <a:cubicBezTo>
                  <a:pt x="1073" y="5838"/>
                  <a:pt x="1072" y="5838"/>
                  <a:pt x="1072" y="5839"/>
                </a:cubicBezTo>
                <a:cubicBezTo>
                  <a:pt x="1072" y="5840"/>
                  <a:pt x="1073" y="5841"/>
                  <a:pt x="1074" y="5841"/>
                </a:cubicBezTo>
                <a:cubicBezTo>
                  <a:pt x="1075" y="5841"/>
                  <a:pt x="1076" y="5840"/>
                  <a:pt x="1076" y="5839"/>
                </a:cubicBezTo>
                <a:cubicBezTo>
                  <a:pt x="1076" y="5838"/>
                  <a:pt x="1075" y="5838"/>
                  <a:pt x="1074" y="5838"/>
                </a:cubicBezTo>
                <a:close/>
                <a:moveTo>
                  <a:pt x="3" y="106"/>
                </a:moveTo>
                <a:cubicBezTo>
                  <a:pt x="1" y="106"/>
                  <a:pt x="0" y="107"/>
                  <a:pt x="0" y="108"/>
                </a:cubicBezTo>
                <a:cubicBezTo>
                  <a:pt x="0" y="109"/>
                  <a:pt x="1" y="110"/>
                  <a:pt x="3" y="110"/>
                </a:cubicBezTo>
                <a:cubicBezTo>
                  <a:pt x="4" y="110"/>
                  <a:pt x="5" y="109"/>
                  <a:pt x="5" y="108"/>
                </a:cubicBezTo>
                <a:cubicBezTo>
                  <a:pt x="5" y="107"/>
                  <a:pt x="4" y="106"/>
                  <a:pt x="3" y="106"/>
                </a:cubicBezTo>
                <a:close/>
                <a:moveTo>
                  <a:pt x="198" y="194"/>
                </a:moveTo>
                <a:cubicBezTo>
                  <a:pt x="196" y="194"/>
                  <a:pt x="194" y="196"/>
                  <a:pt x="194" y="198"/>
                </a:cubicBezTo>
                <a:cubicBezTo>
                  <a:pt x="194" y="200"/>
                  <a:pt x="196" y="202"/>
                  <a:pt x="198" y="202"/>
                </a:cubicBezTo>
                <a:cubicBezTo>
                  <a:pt x="200" y="202"/>
                  <a:pt x="202" y="200"/>
                  <a:pt x="202" y="198"/>
                </a:cubicBezTo>
                <a:cubicBezTo>
                  <a:pt x="202" y="196"/>
                  <a:pt x="200" y="194"/>
                  <a:pt x="198" y="194"/>
                </a:cubicBezTo>
                <a:close/>
                <a:moveTo>
                  <a:pt x="388" y="294"/>
                </a:moveTo>
                <a:cubicBezTo>
                  <a:pt x="384" y="294"/>
                  <a:pt x="382" y="297"/>
                  <a:pt x="382" y="300"/>
                </a:cubicBezTo>
                <a:cubicBezTo>
                  <a:pt x="382" y="304"/>
                  <a:pt x="384" y="306"/>
                  <a:pt x="388" y="306"/>
                </a:cubicBezTo>
                <a:cubicBezTo>
                  <a:pt x="391" y="306"/>
                  <a:pt x="394" y="304"/>
                  <a:pt x="394" y="300"/>
                </a:cubicBezTo>
                <a:cubicBezTo>
                  <a:pt x="394" y="297"/>
                  <a:pt x="391" y="294"/>
                  <a:pt x="388" y="294"/>
                </a:cubicBezTo>
                <a:close/>
                <a:moveTo>
                  <a:pt x="571" y="403"/>
                </a:moveTo>
                <a:cubicBezTo>
                  <a:pt x="565" y="403"/>
                  <a:pt x="560" y="407"/>
                  <a:pt x="560" y="413"/>
                </a:cubicBezTo>
                <a:cubicBezTo>
                  <a:pt x="560" y="419"/>
                  <a:pt x="565" y="424"/>
                  <a:pt x="571" y="424"/>
                </a:cubicBezTo>
                <a:cubicBezTo>
                  <a:pt x="577" y="424"/>
                  <a:pt x="582" y="419"/>
                  <a:pt x="582" y="413"/>
                </a:cubicBezTo>
                <a:cubicBezTo>
                  <a:pt x="582" y="407"/>
                  <a:pt x="577" y="403"/>
                  <a:pt x="571" y="403"/>
                </a:cubicBezTo>
                <a:close/>
                <a:moveTo>
                  <a:pt x="747" y="521"/>
                </a:moveTo>
                <a:cubicBezTo>
                  <a:pt x="737" y="521"/>
                  <a:pt x="730" y="528"/>
                  <a:pt x="730" y="538"/>
                </a:cubicBezTo>
                <a:cubicBezTo>
                  <a:pt x="730" y="547"/>
                  <a:pt x="737" y="555"/>
                  <a:pt x="747" y="555"/>
                </a:cubicBezTo>
                <a:cubicBezTo>
                  <a:pt x="756" y="555"/>
                  <a:pt x="764" y="547"/>
                  <a:pt x="764" y="538"/>
                </a:cubicBezTo>
                <a:cubicBezTo>
                  <a:pt x="764" y="528"/>
                  <a:pt x="756" y="521"/>
                  <a:pt x="747" y="521"/>
                </a:cubicBezTo>
                <a:close/>
                <a:moveTo>
                  <a:pt x="915" y="649"/>
                </a:moveTo>
                <a:cubicBezTo>
                  <a:pt x="901" y="649"/>
                  <a:pt x="891" y="660"/>
                  <a:pt x="891" y="673"/>
                </a:cubicBezTo>
                <a:cubicBezTo>
                  <a:pt x="891" y="686"/>
                  <a:pt x="901" y="697"/>
                  <a:pt x="915" y="697"/>
                </a:cubicBezTo>
                <a:cubicBezTo>
                  <a:pt x="928" y="697"/>
                  <a:pt x="939" y="686"/>
                  <a:pt x="939" y="673"/>
                </a:cubicBezTo>
                <a:cubicBezTo>
                  <a:pt x="939" y="660"/>
                  <a:pt x="928" y="649"/>
                  <a:pt x="915" y="649"/>
                </a:cubicBezTo>
                <a:close/>
                <a:moveTo>
                  <a:pt x="1074" y="788"/>
                </a:moveTo>
                <a:cubicBezTo>
                  <a:pt x="1057" y="788"/>
                  <a:pt x="1044" y="802"/>
                  <a:pt x="1044" y="818"/>
                </a:cubicBezTo>
                <a:cubicBezTo>
                  <a:pt x="1044" y="834"/>
                  <a:pt x="1057" y="848"/>
                  <a:pt x="1074" y="848"/>
                </a:cubicBezTo>
                <a:cubicBezTo>
                  <a:pt x="1090" y="848"/>
                  <a:pt x="1104" y="834"/>
                  <a:pt x="1104" y="818"/>
                </a:cubicBezTo>
                <a:cubicBezTo>
                  <a:pt x="1104" y="802"/>
                  <a:pt x="1090" y="788"/>
                  <a:pt x="1074" y="788"/>
                </a:cubicBezTo>
                <a:close/>
                <a:moveTo>
                  <a:pt x="1224" y="938"/>
                </a:moveTo>
                <a:cubicBezTo>
                  <a:pt x="1205" y="938"/>
                  <a:pt x="1190" y="954"/>
                  <a:pt x="1190" y="973"/>
                </a:cubicBezTo>
                <a:cubicBezTo>
                  <a:pt x="1190" y="992"/>
                  <a:pt x="1205" y="1007"/>
                  <a:pt x="1224" y="1007"/>
                </a:cubicBezTo>
                <a:cubicBezTo>
                  <a:pt x="1243" y="1007"/>
                  <a:pt x="1258" y="992"/>
                  <a:pt x="1258" y="973"/>
                </a:cubicBezTo>
                <a:cubicBezTo>
                  <a:pt x="1258" y="954"/>
                  <a:pt x="1243" y="938"/>
                  <a:pt x="1224" y="938"/>
                </a:cubicBezTo>
                <a:close/>
                <a:moveTo>
                  <a:pt x="1401" y="1136"/>
                </a:moveTo>
                <a:cubicBezTo>
                  <a:pt x="1401" y="1116"/>
                  <a:pt x="1384" y="1099"/>
                  <a:pt x="1364" y="1099"/>
                </a:cubicBezTo>
                <a:cubicBezTo>
                  <a:pt x="1343" y="1099"/>
                  <a:pt x="1327" y="1116"/>
                  <a:pt x="1327" y="1136"/>
                </a:cubicBezTo>
                <a:cubicBezTo>
                  <a:pt x="1327" y="1157"/>
                  <a:pt x="1343" y="1173"/>
                  <a:pt x="1364" y="1173"/>
                </a:cubicBezTo>
                <a:cubicBezTo>
                  <a:pt x="1384" y="1173"/>
                  <a:pt x="1401" y="1157"/>
                  <a:pt x="1401" y="1136"/>
                </a:cubicBezTo>
                <a:close/>
                <a:moveTo>
                  <a:pt x="1494" y="1267"/>
                </a:moveTo>
                <a:cubicBezTo>
                  <a:pt x="1471" y="1267"/>
                  <a:pt x="1453" y="1285"/>
                  <a:pt x="1453" y="1308"/>
                </a:cubicBezTo>
                <a:cubicBezTo>
                  <a:pt x="1453" y="1331"/>
                  <a:pt x="1471" y="1349"/>
                  <a:pt x="1494" y="1349"/>
                </a:cubicBezTo>
                <a:cubicBezTo>
                  <a:pt x="1516" y="1349"/>
                  <a:pt x="1535" y="1331"/>
                  <a:pt x="1535" y="1308"/>
                </a:cubicBezTo>
                <a:cubicBezTo>
                  <a:pt x="1535" y="1285"/>
                  <a:pt x="1516" y="1267"/>
                  <a:pt x="1494" y="1267"/>
                </a:cubicBezTo>
                <a:close/>
                <a:moveTo>
                  <a:pt x="1613" y="1441"/>
                </a:moveTo>
                <a:cubicBezTo>
                  <a:pt x="1587" y="1441"/>
                  <a:pt x="1566" y="1462"/>
                  <a:pt x="1566" y="1488"/>
                </a:cubicBezTo>
                <a:cubicBezTo>
                  <a:pt x="1566" y="1513"/>
                  <a:pt x="1587" y="1534"/>
                  <a:pt x="1613" y="1534"/>
                </a:cubicBezTo>
                <a:cubicBezTo>
                  <a:pt x="1638" y="1534"/>
                  <a:pt x="1659" y="1513"/>
                  <a:pt x="1659" y="1488"/>
                </a:cubicBezTo>
                <a:cubicBezTo>
                  <a:pt x="1659" y="1462"/>
                  <a:pt x="1638" y="1441"/>
                  <a:pt x="1613" y="1441"/>
                </a:cubicBezTo>
                <a:close/>
                <a:moveTo>
                  <a:pt x="1720" y="1727"/>
                </a:moveTo>
                <a:cubicBezTo>
                  <a:pt x="1750" y="1727"/>
                  <a:pt x="1773" y="1704"/>
                  <a:pt x="1773" y="1674"/>
                </a:cubicBezTo>
                <a:cubicBezTo>
                  <a:pt x="1773" y="1645"/>
                  <a:pt x="1750" y="1621"/>
                  <a:pt x="1720" y="1621"/>
                </a:cubicBezTo>
                <a:cubicBezTo>
                  <a:pt x="1691" y="1621"/>
                  <a:pt x="1667" y="1645"/>
                  <a:pt x="1667" y="1674"/>
                </a:cubicBezTo>
                <a:cubicBezTo>
                  <a:pt x="1667" y="1704"/>
                  <a:pt x="1691" y="1727"/>
                  <a:pt x="1720" y="1727"/>
                </a:cubicBezTo>
                <a:close/>
                <a:moveTo>
                  <a:pt x="1875" y="1867"/>
                </a:moveTo>
                <a:cubicBezTo>
                  <a:pt x="1875" y="1835"/>
                  <a:pt x="1849" y="1808"/>
                  <a:pt x="1816" y="1808"/>
                </a:cubicBezTo>
                <a:cubicBezTo>
                  <a:pt x="1784" y="1808"/>
                  <a:pt x="1758" y="1835"/>
                  <a:pt x="1758" y="1867"/>
                </a:cubicBezTo>
                <a:cubicBezTo>
                  <a:pt x="1758" y="1899"/>
                  <a:pt x="1784" y="1926"/>
                  <a:pt x="1816" y="1926"/>
                </a:cubicBezTo>
                <a:cubicBezTo>
                  <a:pt x="1849" y="1926"/>
                  <a:pt x="1875" y="1899"/>
                  <a:pt x="1875" y="1867"/>
                </a:cubicBezTo>
                <a:close/>
                <a:moveTo>
                  <a:pt x="1836" y="2065"/>
                </a:moveTo>
                <a:cubicBezTo>
                  <a:pt x="1836" y="2101"/>
                  <a:pt x="1865" y="2129"/>
                  <a:pt x="1900" y="2129"/>
                </a:cubicBezTo>
                <a:cubicBezTo>
                  <a:pt x="1936" y="2129"/>
                  <a:pt x="1964" y="2101"/>
                  <a:pt x="1964" y="2065"/>
                </a:cubicBezTo>
                <a:cubicBezTo>
                  <a:pt x="1964" y="2030"/>
                  <a:pt x="1936" y="2002"/>
                  <a:pt x="1900" y="2002"/>
                </a:cubicBezTo>
                <a:cubicBezTo>
                  <a:pt x="1865" y="2002"/>
                  <a:pt x="1836" y="2030"/>
                  <a:pt x="1836" y="2065"/>
                </a:cubicBezTo>
                <a:close/>
                <a:moveTo>
                  <a:pt x="1972" y="2202"/>
                </a:moveTo>
                <a:cubicBezTo>
                  <a:pt x="1935" y="2202"/>
                  <a:pt x="1906" y="2232"/>
                  <a:pt x="1906" y="2269"/>
                </a:cubicBezTo>
                <a:cubicBezTo>
                  <a:pt x="1906" y="2305"/>
                  <a:pt x="1935" y="2335"/>
                  <a:pt x="1972" y="2335"/>
                </a:cubicBezTo>
                <a:cubicBezTo>
                  <a:pt x="2008" y="2335"/>
                  <a:pt x="2038" y="2305"/>
                  <a:pt x="2038" y="2269"/>
                </a:cubicBezTo>
                <a:cubicBezTo>
                  <a:pt x="2038" y="2232"/>
                  <a:pt x="2008" y="2202"/>
                  <a:pt x="1972" y="2202"/>
                </a:cubicBezTo>
                <a:close/>
                <a:moveTo>
                  <a:pt x="2031" y="2410"/>
                </a:moveTo>
                <a:cubicBezTo>
                  <a:pt x="1994" y="2410"/>
                  <a:pt x="1965" y="2439"/>
                  <a:pt x="1965" y="2476"/>
                </a:cubicBezTo>
                <a:cubicBezTo>
                  <a:pt x="1965" y="2512"/>
                  <a:pt x="1994" y="2542"/>
                  <a:pt x="2031" y="2542"/>
                </a:cubicBezTo>
                <a:cubicBezTo>
                  <a:pt x="2067" y="2542"/>
                  <a:pt x="2097" y="2512"/>
                  <a:pt x="2097" y="2476"/>
                </a:cubicBezTo>
                <a:cubicBezTo>
                  <a:pt x="2097" y="2439"/>
                  <a:pt x="2067" y="2410"/>
                  <a:pt x="2031" y="2410"/>
                </a:cubicBezTo>
                <a:close/>
                <a:moveTo>
                  <a:pt x="2077" y="2621"/>
                </a:moveTo>
                <a:cubicBezTo>
                  <a:pt x="2041" y="2621"/>
                  <a:pt x="2012" y="2650"/>
                  <a:pt x="2012" y="2686"/>
                </a:cubicBezTo>
                <a:cubicBezTo>
                  <a:pt x="2012" y="2722"/>
                  <a:pt x="2041" y="2751"/>
                  <a:pt x="2077" y="2751"/>
                </a:cubicBezTo>
                <a:cubicBezTo>
                  <a:pt x="2113" y="2751"/>
                  <a:pt x="2142" y="2722"/>
                  <a:pt x="2142" y="2686"/>
                </a:cubicBezTo>
                <a:cubicBezTo>
                  <a:pt x="2142" y="2650"/>
                  <a:pt x="2113" y="2621"/>
                  <a:pt x="2077" y="2621"/>
                </a:cubicBezTo>
                <a:close/>
                <a:moveTo>
                  <a:pt x="2110" y="2836"/>
                </a:moveTo>
                <a:cubicBezTo>
                  <a:pt x="2075" y="2836"/>
                  <a:pt x="2047" y="2864"/>
                  <a:pt x="2047" y="2899"/>
                </a:cubicBezTo>
                <a:cubicBezTo>
                  <a:pt x="2047" y="2934"/>
                  <a:pt x="2075" y="2962"/>
                  <a:pt x="2110" y="2962"/>
                </a:cubicBezTo>
                <a:cubicBezTo>
                  <a:pt x="2145" y="2962"/>
                  <a:pt x="2173" y="2934"/>
                  <a:pt x="2173" y="2899"/>
                </a:cubicBezTo>
                <a:cubicBezTo>
                  <a:pt x="2173" y="2864"/>
                  <a:pt x="2145" y="2836"/>
                  <a:pt x="2110" y="2836"/>
                </a:cubicBezTo>
                <a:close/>
                <a:moveTo>
                  <a:pt x="2130" y="3054"/>
                </a:moveTo>
                <a:cubicBezTo>
                  <a:pt x="2097" y="3054"/>
                  <a:pt x="2071" y="3081"/>
                  <a:pt x="2071" y="3113"/>
                </a:cubicBezTo>
                <a:cubicBezTo>
                  <a:pt x="2071" y="3146"/>
                  <a:pt x="2097" y="3173"/>
                  <a:pt x="2130" y="3173"/>
                </a:cubicBezTo>
                <a:cubicBezTo>
                  <a:pt x="2163" y="3173"/>
                  <a:pt x="2189" y="3146"/>
                  <a:pt x="2189" y="3113"/>
                </a:cubicBezTo>
                <a:cubicBezTo>
                  <a:pt x="2189" y="3081"/>
                  <a:pt x="2163" y="3054"/>
                  <a:pt x="2130" y="3054"/>
                </a:cubicBezTo>
                <a:close/>
                <a:moveTo>
                  <a:pt x="2342" y="3263"/>
                </a:moveTo>
                <a:cubicBezTo>
                  <a:pt x="2306" y="3263"/>
                  <a:pt x="2277" y="3292"/>
                  <a:pt x="2277" y="3329"/>
                </a:cubicBezTo>
                <a:cubicBezTo>
                  <a:pt x="2277" y="3365"/>
                  <a:pt x="2306" y="3394"/>
                  <a:pt x="2342" y="3394"/>
                </a:cubicBezTo>
                <a:cubicBezTo>
                  <a:pt x="2378" y="3394"/>
                  <a:pt x="2408" y="3365"/>
                  <a:pt x="2408" y="3329"/>
                </a:cubicBezTo>
                <a:cubicBezTo>
                  <a:pt x="2408" y="3292"/>
                  <a:pt x="2378" y="3263"/>
                  <a:pt x="2342" y="3263"/>
                </a:cubicBezTo>
                <a:close/>
                <a:moveTo>
                  <a:pt x="2399" y="3544"/>
                </a:moveTo>
                <a:cubicBezTo>
                  <a:pt x="2399" y="3509"/>
                  <a:pt x="2371" y="3481"/>
                  <a:pt x="2336" y="3481"/>
                </a:cubicBezTo>
                <a:cubicBezTo>
                  <a:pt x="2301" y="3481"/>
                  <a:pt x="2273" y="3509"/>
                  <a:pt x="2273" y="3544"/>
                </a:cubicBezTo>
                <a:cubicBezTo>
                  <a:pt x="2273" y="3579"/>
                  <a:pt x="2301" y="3607"/>
                  <a:pt x="2336" y="3607"/>
                </a:cubicBezTo>
                <a:cubicBezTo>
                  <a:pt x="2371" y="3607"/>
                  <a:pt x="2399" y="3579"/>
                  <a:pt x="2399" y="3544"/>
                </a:cubicBezTo>
                <a:close/>
                <a:moveTo>
                  <a:pt x="2378" y="3759"/>
                </a:moveTo>
                <a:cubicBezTo>
                  <a:pt x="2378" y="3725"/>
                  <a:pt x="2351" y="3698"/>
                  <a:pt x="2317" y="3698"/>
                </a:cubicBezTo>
                <a:cubicBezTo>
                  <a:pt x="2283" y="3698"/>
                  <a:pt x="2256" y="3725"/>
                  <a:pt x="2256" y="3759"/>
                </a:cubicBezTo>
                <a:cubicBezTo>
                  <a:pt x="2256" y="3792"/>
                  <a:pt x="2283" y="3820"/>
                  <a:pt x="2317" y="3820"/>
                </a:cubicBezTo>
                <a:cubicBezTo>
                  <a:pt x="2351" y="3820"/>
                  <a:pt x="2378" y="3792"/>
                  <a:pt x="2378" y="3759"/>
                </a:cubicBezTo>
                <a:close/>
                <a:moveTo>
                  <a:pt x="2228" y="3972"/>
                </a:moveTo>
                <a:cubicBezTo>
                  <a:pt x="2228" y="4004"/>
                  <a:pt x="2254" y="4029"/>
                  <a:pt x="2286" y="4029"/>
                </a:cubicBezTo>
                <a:cubicBezTo>
                  <a:pt x="2318" y="4029"/>
                  <a:pt x="2344" y="4004"/>
                  <a:pt x="2344" y="3972"/>
                </a:cubicBezTo>
                <a:cubicBezTo>
                  <a:pt x="2344" y="3940"/>
                  <a:pt x="2318" y="3914"/>
                  <a:pt x="2286" y="3914"/>
                </a:cubicBezTo>
                <a:cubicBezTo>
                  <a:pt x="2254" y="3914"/>
                  <a:pt x="2228" y="3940"/>
                  <a:pt x="2228" y="3972"/>
                </a:cubicBezTo>
                <a:close/>
                <a:moveTo>
                  <a:pt x="2296" y="4183"/>
                </a:moveTo>
                <a:cubicBezTo>
                  <a:pt x="2296" y="4153"/>
                  <a:pt x="2272" y="4129"/>
                  <a:pt x="2242" y="4129"/>
                </a:cubicBezTo>
                <a:cubicBezTo>
                  <a:pt x="2213" y="4129"/>
                  <a:pt x="2189" y="4153"/>
                  <a:pt x="2189" y="4183"/>
                </a:cubicBezTo>
                <a:cubicBezTo>
                  <a:pt x="2189" y="4212"/>
                  <a:pt x="2213" y="4236"/>
                  <a:pt x="2242" y="4236"/>
                </a:cubicBezTo>
                <a:cubicBezTo>
                  <a:pt x="2272" y="4236"/>
                  <a:pt x="2296" y="4212"/>
                  <a:pt x="2296" y="4183"/>
                </a:cubicBezTo>
                <a:close/>
                <a:moveTo>
                  <a:pt x="2236" y="4391"/>
                </a:moveTo>
                <a:cubicBezTo>
                  <a:pt x="2236" y="4364"/>
                  <a:pt x="2214" y="4342"/>
                  <a:pt x="2187" y="4342"/>
                </a:cubicBezTo>
                <a:cubicBezTo>
                  <a:pt x="2160" y="4342"/>
                  <a:pt x="2138" y="4364"/>
                  <a:pt x="2138" y="4391"/>
                </a:cubicBezTo>
                <a:cubicBezTo>
                  <a:pt x="2138" y="4418"/>
                  <a:pt x="2160" y="4440"/>
                  <a:pt x="2187" y="4440"/>
                </a:cubicBezTo>
                <a:cubicBezTo>
                  <a:pt x="2214" y="4440"/>
                  <a:pt x="2236" y="4418"/>
                  <a:pt x="2236" y="4391"/>
                </a:cubicBezTo>
                <a:close/>
                <a:moveTo>
                  <a:pt x="2119" y="4640"/>
                </a:moveTo>
                <a:cubicBezTo>
                  <a:pt x="2143" y="4640"/>
                  <a:pt x="2163" y="4620"/>
                  <a:pt x="2163" y="4595"/>
                </a:cubicBezTo>
                <a:cubicBezTo>
                  <a:pt x="2163" y="4571"/>
                  <a:pt x="2143" y="4551"/>
                  <a:pt x="2119" y="4551"/>
                </a:cubicBezTo>
                <a:cubicBezTo>
                  <a:pt x="2094" y="4551"/>
                  <a:pt x="2074" y="4571"/>
                  <a:pt x="2074" y="4595"/>
                </a:cubicBezTo>
                <a:cubicBezTo>
                  <a:pt x="2074" y="4620"/>
                  <a:pt x="2094" y="4640"/>
                  <a:pt x="2119" y="4640"/>
                </a:cubicBezTo>
                <a:close/>
                <a:moveTo>
                  <a:pt x="2039" y="4835"/>
                </a:moveTo>
                <a:cubicBezTo>
                  <a:pt x="2061" y="4835"/>
                  <a:pt x="2079" y="4817"/>
                  <a:pt x="2079" y="4795"/>
                </a:cubicBezTo>
                <a:cubicBezTo>
                  <a:pt x="2079" y="4774"/>
                  <a:pt x="2061" y="4756"/>
                  <a:pt x="2039" y="4756"/>
                </a:cubicBezTo>
                <a:cubicBezTo>
                  <a:pt x="2018" y="4756"/>
                  <a:pt x="2000" y="4774"/>
                  <a:pt x="2000" y="4795"/>
                </a:cubicBezTo>
                <a:cubicBezTo>
                  <a:pt x="2000" y="4817"/>
                  <a:pt x="2018" y="4835"/>
                  <a:pt x="2039" y="4835"/>
                </a:cubicBezTo>
                <a:close/>
                <a:moveTo>
                  <a:pt x="1982" y="4991"/>
                </a:moveTo>
                <a:cubicBezTo>
                  <a:pt x="1982" y="4972"/>
                  <a:pt x="1967" y="4957"/>
                  <a:pt x="1948" y="4957"/>
                </a:cubicBezTo>
                <a:cubicBezTo>
                  <a:pt x="1930" y="4957"/>
                  <a:pt x="1915" y="4972"/>
                  <a:pt x="1915" y="4991"/>
                </a:cubicBezTo>
                <a:cubicBezTo>
                  <a:pt x="1915" y="5009"/>
                  <a:pt x="1930" y="5024"/>
                  <a:pt x="1948" y="5024"/>
                </a:cubicBezTo>
                <a:cubicBezTo>
                  <a:pt x="1967" y="5024"/>
                  <a:pt x="1982" y="5009"/>
                  <a:pt x="1982" y="4991"/>
                </a:cubicBezTo>
                <a:close/>
                <a:moveTo>
                  <a:pt x="1818" y="5180"/>
                </a:moveTo>
                <a:cubicBezTo>
                  <a:pt x="1818" y="5196"/>
                  <a:pt x="1831" y="5208"/>
                  <a:pt x="1846" y="5208"/>
                </a:cubicBezTo>
                <a:cubicBezTo>
                  <a:pt x="1862" y="5208"/>
                  <a:pt x="1874" y="5196"/>
                  <a:pt x="1874" y="5180"/>
                </a:cubicBezTo>
                <a:cubicBezTo>
                  <a:pt x="1874" y="5165"/>
                  <a:pt x="1862" y="5152"/>
                  <a:pt x="1846" y="5152"/>
                </a:cubicBezTo>
                <a:cubicBezTo>
                  <a:pt x="1831" y="5152"/>
                  <a:pt x="1818" y="5165"/>
                  <a:pt x="1818" y="5180"/>
                </a:cubicBezTo>
                <a:close/>
                <a:moveTo>
                  <a:pt x="1733" y="5385"/>
                </a:moveTo>
                <a:cubicBezTo>
                  <a:pt x="1745" y="5385"/>
                  <a:pt x="1755" y="5375"/>
                  <a:pt x="1755" y="5363"/>
                </a:cubicBezTo>
                <a:cubicBezTo>
                  <a:pt x="1755" y="5351"/>
                  <a:pt x="1745" y="5342"/>
                  <a:pt x="1733" y="5342"/>
                </a:cubicBezTo>
                <a:cubicBezTo>
                  <a:pt x="1721" y="5342"/>
                  <a:pt x="1711" y="5351"/>
                  <a:pt x="1711" y="5363"/>
                </a:cubicBezTo>
                <a:cubicBezTo>
                  <a:pt x="1711" y="5375"/>
                  <a:pt x="1721" y="5385"/>
                  <a:pt x="1733" y="5385"/>
                </a:cubicBezTo>
                <a:close/>
                <a:moveTo>
                  <a:pt x="1610" y="5525"/>
                </a:moveTo>
                <a:cubicBezTo>
                  <a:pt x="1601" y="5525"/>
                  <a:pt x="1594" y="5531"/>
                  <a:pt x="1594" y="5540"/>
                </a:cubicBezTo>
                <a:cubicBezTo>
                  <a:pt x="1594" y="5548"/>
                  <a:pt x="1601" y="5555"/>
                  <a:pt x="1610" y="5555"/>
                </a:cubicBezTo>
                <a:cubicBezTo>
                  <a:pt x="1618" y="5555"/>
                  <a:pt x="1625" y="5548"/>
                  <a:pt x="1625" y="5540"/>
                </a:cubicBezTo>
                <a:cubicBezTo>
                  <a:pt x="1625" y="5531"/>
                  <a:pt x="1618" y="5525"/>
                  <a:pt x="1610" y="5525"/>
                </a:cubicBezTo>
                <a:close/>
                <a:moveTo>
                  <a:pt x="1476" y="5700"/>
                </a:moveTo>
                <a:cubicBezTo>
                  <a:pt x="1471" y="5700"/>
                  <a:pt x="1467" y="5704"/>
                  <a:pt x="1467" y="5709"/>
                </a:cubicBezTo>
                <a:cubicBezTo>
                  <a:pt x="1467" y="5714"/>
                  <a:pt x="1471" y="5718"/>
                  <a:pt x="1476" y="5718"/>
                </a:cubicBezTo>
                <a:cubicBezTo>
                  <a:pt x="1481" y="5718"/>
                  <a:pt x="1485" y="5714"/>
                  <a:pt x="1485" y="5709"/>
                </a:cubicBezTo>
                <a:cubicBezTo>
                  <a:pt x="1485" y="5704"/>
                  <a:pt x="1481" y="5700"/>
                  <a:pt x="1476" y="5700"/>
                </a:cubicBezTo>
                <a:close/>
                <a:moveTo>
                  <a:pt x="1333" y="5865"/>
                </a:moveTo>
                <a:cubicBezTo>
                  <a:pt x="1330" y="5865"/>
                  <a:pt x="1328" y="5867"/>
                  <a:pt x="1328" y="5870"/>
                </a:cubicBezTo>
                <a:cubicBezTo>
                  <a:pt x="1328" y="5872"/>
                  <a:pt x="1330" y="5874"/>
                  <a:pt x="1333" y="5874"/>
                </a:cubicBezTo>
                <a:cubicBezTo>
                  <a:pt x="1335" y="5874"/>
                  <a:pt x="1337" y="5872"/>
                  <a:pt x="1337" y="5870"/>
                </a:cubicBezTo>
                <a:cubicBezTo>
                  <a:pt x="1337" y="5867"/>
                  <a:pt x="1335" y="5865"/>
                  <a:pt x="1333" y="5865"/>
                </a:cubicBezTo>
                <a:close/>
                <a:moveTo>
                  <a:pt x="1180" y="6020"/>
                </a:moveTo>
                <a:cubicBezTo>
                  <a:pt x="1179" y="6020"/>
                  <a:pt x="1178" y="6021"/>
                  <a:pt x="1178" y="6022"/>
                </a:cubicBezTo>
                <a:cubicBezTo>
                  <a:pt x="1178" y="6023"/>
                  <a:pt x="1179" y="6024"/>
                  <a:pt x="1180" y="6024"/>
                </a:cubicBezTo>
                <a:cubicBezTo>
                  <a:pt x="1182" y="6024"/>
                  <a:pt x="1183" y="6023"/>
                  <a:pt x="1183" y="6022"/>
                </a:cubicBezTo>
                <a:cubicBezTo>
                  <a:pt x="1183" y="6021"/>
                  <a:pt x="1182" y="6020"/>
                  <a:pt x="1180" y="6020"/>
                </a:cubicBezTo>
                <a:close/>
                <a:moveTo>
                  <a:pt x="1020" y="6164"/>
                </a:moveTo>
                <a:cubicBezTo>
                  <a:pt x="1019" y="6164"/>
                  <a:pt x="1018" y="6164"/>
                  <a:pt x="1018" y="6165"/>
                </a:cubicBezTo>
                <a:cubicBezTo>
                  <a:pt x="1018" y="6166"/>
                  <a:pt x="1019" y="6167"/>
                  <a:pt x="1020" y="6167"/>
                </a:cubicBezTo>
                <a:cubicBezTo>
                  <a:pt x="1020" y="6167"/>
                  <a:pt x="1021" y="6166"/>
                  <a:pt x="1021" y="6165"/>
                </a:cubicBezTo>
                <a:cubicBezTo>
                  <a:pt x="1021" y="6164"/>
                  <a:pt x="1020" y="6164"/>
                  <a:pt x="1020" y="6164"/>
                </a:cubicBezTo>
                <a:close/>
                <a:moveTo>
                  <a:pt x="301" y="18"/>
                </a:moveTo>
                <a:cubicBezTo>
                  <a:pt x="300" y="18"/>
                  <a:pt x="299" y="19"/>
                  <a:pt x="299" y="20"/>
                </a:cubicBezTo>
                <a:cubicBezTo>
                  <a:pt x="299" y="21"/>
                  <a:pt x="300" y="21"/>
                  <a:pt x="301" y="21"/>
                </a:cubicBezTo>
                <a:cubicBezTo>
                  <a:pt x="302" y="21"/>
                  <a:pt x="303" y="21"/>
                  <a:pt x="303" y="20"/>
                </a:cubicBezTo>
                <a:cubicBezTo>
                  <a:pt x="303" y="19"/>
                  <a:pt x="302" y="18"/>
                  <a:pt x="301" y="18"/>
                </a:cubicBezTo>
                <a:close/>
                <a:moveTo>
                  <a:pt x="491" y="120"/>
                </a:moveTo>
                <a:cubicBezTo>
                  <a:pt x="490" y="120"/>
                  <a:pt x="489" y="121"/>
                  <a:pt x="489" y="122"/>
                </a:cubicBezTo>
                <a:cubicBezTo>
                  <a:pt x="489" y="123"/>
                  <a:pt x="490" y="124"/>
                  <a:pt x="491" y="124"/>
                </a:cubicBezTo>
                <a:cubicBezTo>
                  <a:pt x="492" y="124"/>
                  <a:pt x="493" y="123"/>
                  <a:pt x="493" y="122"/>
                </a:cubicBezTo>
                <a:cubicBezTo>
                  <a:pt x="493" y="121"/>
                  <a:pt x="492" y="120"/>
                  <a:pt x="491" y="120"/>
                </a:cubicBezTo>
                <a:close/>
                <a:moveTo>
                  <a:pt x="674" y="233"/>
                </a:moveTo>
                <a:cubicBezTo>
                  <a:pt x="673" y="233"/>
                  <a:pt x="672" y="234"/>
                  <a:pt x="672" y="235"/>
                </a:cubicBezTo>
                <a:cubicBezTo>
                  <a:pt x="672" y="236"/>
                  <a:pt x="673" y="237"/>
                  <a:pt x="674" y="237"/>
                </a:cubicBezTo>
                <a:cubicBezTo>
                  <a:pt x="675" y="237"/>
                  <a:pt x="676" y="236"/>
                  <a:pt x="676" y="235"/>
                </a:cubicBezTo>
                <a:cubicBezTo>
                  <a:pt x="676" y="234"/>
                  <a:pt x="675" y="233"/>
                  <a:pt x="674" y="233"/>
                </a:cubicBezTo>
                <a:close/>
                <a:moveTo>
                  <a:pt x="851" y="355"/>
                </a:moveTo>
                <a:cubicBezTo>
                  <a:pt x="849" y="355"/>
                  <a:pt x="847" y="357"/>
                  <a:pt x="847" y="359"/>
                </a:cubicBezTo>
                <a:cubicBezTo>
                  <a:pt x="847" y="360"/>
                  <a:pt x="849" y="362"/>
                  <a:pt x="851" y="362"/>
                </a:cubicBezTo>
                <a:cubicBezTo>
                  <a:pt x="852" y="362"/>
                  <a:pt x="854" y="360"/>
                  <a:pt x="854" y="359"/>
                </a:cubicBezTo>
                <a:cubicBezTo>
                  <a:pt x="854" y="357"/>
                  <a:pt x="852" y="355"/>
                  <a:pt x="851" y="355"/>
                </a:cubicBezTo>
                <a:close/>
                <a:moveTo>
                  <a:pt x="1020" y="488"/>
                </a:moveTo>
                <a:cubicBezTo>
                  <a:pt x="1017" y="488"/>
                  <a:pt x="1015" y="490"/>
                  <a:pt x="1015" y="492"/>
                </a:cubicBezTo>
                <a:cubicBezTo>
                  <a:pt x="1015" y="495"/>
                  <a:pt x="1017" y="497"/>
                  <a:pt x="1020" y="497"/>
                </a:cubicBezTo>
                <a:cubicBezTo>
                  <a:pt x="1022" y="497"/>
                  <a:pt x="1024" y="495"/>
                  <a:pt x="1024" y="492"/>
                </a:cubicBezTo>
                <a:cubicBezTo>
                  <a:pt x="1024" y="490"/>
                  <a:pt x="1022" y="488"/>
                  <a:pt x="1020" y="488"/>
                </a:cubicBezTo>
                <a:close/>
                <a:moveTo>
                  <a:pt x="1180" y="627"/>
                </a:moveTo>
                <a:cubicBezTo>
                  <a:pt x="1176" y="627"/>
                  <a:pt x="1172" y="631"/>
                  <a:pt x="1172" y="635"/>
                </a:cubicBezTo>
                <a:cubicBezTo>
                  <a:pt x="1172" y="640"/>
                  <a:pt x="1176" y="644"/>
                  <a:pt x="1180" y="644"/>
                </a:cubicBezTo>
                <a:cubicBezTo>
                  <a:pt x="1185" y="644"/>
                  <a:pt x="1189" y="640"/>
                  <a:pt x="1189" y="635"/>
                </a:cubicBezTo>
                <a:cubicBezTo>
                  <a:pt x="1189" y="631"/>
                  <a:pt x="1185" y="627"/>
                  <a:pt x="1180" y="627"/>
                </a:cubicBezTo>
                <a:close/>
                <a:moveTo>
                  <a:pt x="1346" y="788"/>
                </a:moveTo>
                <a:cubicBezTo>
                  <a:pt x="1346" y="780"/>
                  <a:pt x="1340" y="775"/>
                  <a:pt x="1333" y="775"/>
                </a:cubicBezTo>
                <a:cubicBezTo>
                  <a:pt x="1325" y="775"/>
                  <a:pt x="1320" y="780"/>
                  <a:pt x="1320" y="788"/>
                </a:cubicBezTo>
                <a:cubicBezTo>
                  <a:pt x="1320" y="795"/>
                  <a:pt x="1325" y="801"/>
                  <a:pt x="1333" y="801"/>
                </a:cubicBezTo>
                <a:cubicBezTo>
                  <a:pt x="1340" y="801"/>
                  <a:pt x="1346" y="795"/>
                  <a:pt x="1346" y="788"/>
                </a:cubicBezTo>
                <a:close/>
                <a:moveTo>
                  <a:pt x="1476" y="969"/>
                </a:moveTo>
                <a:cubicBezTo>
                  <a:pt x="1487" y="969"/>
                  <a:pt x="1496" y="960"/>
                  <a:pt x="1496" y="949"/>
                </a:cubicBezTo>
                <a:cubicBezTo>
                  <a:pt x="1496" y="938"/>
                  <a:pt x="1487" y="929"/>
                  <a:pt x="1476" y="929"/>
                </a:cubicBezTo>
                <a:cubicBezTo>
                  <a:pt x="1465" y="929"/>
                  <a:pt x="1456" y="938"/>
                  <a:pt x="1456" y="949"/>
                </a:cubicBezTo>
                <a:cubicBezTo>
                  <a:pt x="1456" y="960"/>
                  <a:pt x="1465" y="969"/>
                  <a:pt x="1476" y="969"/>
                </a:cubicBezTo>
                <a:close/>
                <a:moveTo>
                  <a:pt x="1610" y="1144"/>
                </a:moveTo>
                <a:cubicBezTo>
                  <a:pt x="1624" y="1144"/>
                  <a:pt x="1636" y="1132"/>
                  <a:pt x="1636" y="1118"/>
                </a:cubicBezTo>
                <a:cubicBezTo>
                  <a:pt x="1636" y="1103"/>
                  <a:pt x="1624" y="1091"/>
                  <a:pt x="1610" y="1091"/>
                </a:cubicBezTo>
                <a:cubicBezTo>
                  <a:pt x="1595" y="1091"/>
                  <a:pt x="1583" y="1103"/>
                  <a:pt x="1583" y="1118"/>
                </a:cubicBezTo>
                <a:cubicBezTo>
                  <a:pt x="1583" y="1132"/>
                  <a:pt x="1595" y="1144"/>
                  <a:pt x="1610" y="1144"/>
                </a:cubicBezTo>
                <a:close/>
                <a:moveTo>
                  <a:pt x="1733" y="1325"/>
                </a:moveTo>
                <a:cubicBezTo>
                  <a:pt x="1750" y="1325"/>
                  <a:pt x="1764" y="1311"/>
                  <a:pt x="1764" y="1294"/>
                </a:cubicBezTo>
                <a:cubicBezTo>
                  <a:pt x="1764" y="1277"/>
                  <a:pt x="1750" y="1263"/>
                  <a:pt x="1733" y="1263"/>
                </a:cubicBezTo>
                <a:cubicBezTo>
                  <a:pt x="1716" y="1263"/>
                  <a:pt x="1702" y="1277"/>
                  <a:pt x="1702" y="1294"/>
                </a:cubicBezTo>
                <a:cubicBezTo>
                  <a:pt x="1702" y="1311"/>
                  <a:pt x="1716" y="1325"/>
                  <a:pt x="1733" y="1325"/>
                </a:cubicBezTo>
                <a:close/>
                <a:moveTo>
                  <a:pt x="1846" y="1512"/>
                </a:moveTo>
                <a:cubicBezTo>
                  <a:pt x="1865" y="1512"/>
                  <a:pt x="1881" y="1497"/>
                  <a:pt x="1881" y="1477"/>
                </a:cubicBezTo>
                <a:cubicBezTo>
                  <a:pt x="1881" y="1458"/>
                  <a:pt x="1865" y="1442"/>
                  <a:pt x="1846" y="1442"/>
                </a:cubicBezTo>
                <a:cubicBezTo>
                  <a:pt x="1827" y="1442"/>
                  <a:pt x="1811" y="1458"/>
                  <a:pt x="1811" y="1477"/>
                </a:cubicBezTo>
                <a:cubicBezTo>
                  <a:pt x="1811" y="1497"/>
                  <a:pt x="1827" y="1512"/>
                  <a:pt x="1846" y="1512"/>
                </a:cubicBezTo>
                <a:close/>
                <a:moveTo>
                  <a:pt x="1948" y="1705"/>
                </a:moveTo>
                <a:cubicBezTo>
                  <a:pt x="1969" y="1705"/>
                  <a:pt x="1986" y="1688"/>
                  <a:pt x="1986" y="1667"/>
                </a:cubicBezTo>
                <a:cubicBezTo>
                  <a:pt x="1986" y="1646"/>
                  <a:pt x="1969" y="1629"/>
                  <a:pt x="1948" y="1629"/>
                </a:cubicBezTo>
                <a:cubicBezTo>
                  <a:pt x="1928" y="1629"/>
                  <a:pt x="1911" y="1646"/>
                  <a:pt x="1911" y="1667"/>
                </a:cubicBezTo>
                <a:cubicBezTo>
                  <a:pt x="1911" y="1688"/>
                  <a:pt x="1928" y="1705"/>
                  <a:pt x="1948" y="1705"/>
                </a:cubicBezTo>
                <a:close/>
                <a:moveTo>
                  <a:pt x="2039" y="1904"/>
                </a:moveTo>
                <a:cubicBezTo>
                  <a:pt x="2062" y="1904"/>
                  <a:pt x="2081" y="1885"/>
                  <a:pt x="2081" y="1862"/>
                </a:cubicBezTo>
                <a:cubicBezTo>
                  <a:pt x="2081" y="1839"/>
                  <a:pt x="2062" y="1820"/>
                  <a:pt x="2039" y="1820"/>
                </a:cubicBezTo>
                <a:cubicBezTo>
                  <a:pt x="2016" y="1820"/>
                  <a:pt x="1998" y="1839"/>
                  <a:pt x="1998" y="1862"/>
                </a:cubicBezTo>
                <a:cubicBezTo>
                  <a:pt x="1998" y="1885"/>
                  <a:pt x="2016" y="1904"/>
                  <a:pt x="2039" y="1904"/>
                </a:cubicBezTo>
                <a:close/>
                <a:moveTo>
                  <a:pt x="2072" y="2062"/>
                </a:moveTo>
                <a:cubicBezTo>
                  <a:pt x="2072" y="2088"/>
                  <a:pt x="2093" y="2109"/>
                  <a:pt x="2119" y="2109"/>
                </a:cubicBezTo>
                <a:cubicBezTo>
                  <a:pt x="2145" y="2109"/>
                  <a:pt x="2166" y="2088"/>
                  <a:pt x="2166" y="2062"/>
                </a:cubicBezTo>
                <a:cubicBezTo>
                  <a:pt x="2166" y="2036"/>
                  <a:pt x="2145" y="2015"/>
                  <a:pt x="2119" y="2015"/>
                </a:cubicBezTo>
                <a:cubicBezTo>
                  <a:pt x="2093" y="2015"/>
                  <a:pt x="2072" y="2036"/>
                  <a:pt x="2072" y="2062"/>
                </a:cubicBezTo>
                <a:close/>
                <a:moveTo>
                  <a:pt x="2134" y="2267"/>
                </a:moveTo>
                <a:cubicBezTo>
                  <a:pt x="2134" y="2296"/>
                  <a:pt x="2157" y="2320"/>
                  <a:pt x="2187" y="2320"/>
                </a:cubicBezTo>
                <a:cubicBezTo>
                  <a:pt x="2216" y="2320"/>
                  <a:pt x="2240" y="2296"/>
                  <a:pt x="2240" y="2267"/>
                </a:cubicBezTo>
                <a:cubicBezTo>
                  <a:pt x="2240" y="2237"/>
                  <a:pt x="2216" y="2214"/>
                  <a:pt x="2187" y="2214"/>
                </a:cubicBezTo>
                <a:cubicBezTo>
                  <a:pt x="2157" y="2214"/>
                  <a:pt x="2134" y="2237"/>
                  <a:pt x="2134" y="2267"/>
                </a:cubicBezTo>
                <a:close/>
                <a:moveTo>
                  <a:pt x="2242" y="2416"/>
                </a:moveTo>
                <a:cubicBezTo>
                  <a:pt x="2210" y="2416"/>
                  <a:pt x="2184" y="2442"/>
                  <a:pt x="2184" y="2475"/>
                </a:cubicBezTo>
                <a:cubicBezTo>
                  <a:pt x="2184" y="2507"/>
                  <a:pt x="2210" y="2534"/>
                  <a:pt x="2242" y="2534"/>
                </a:cubicBezTo>
                <a:cubicBezTo>
                  <a:pt x="2275" y="2534"/>
                  <a:pt x="2301" y="2507"/>
                  <a:pt x="2301" y="2475"/>
                </a:cubicBezTo>
                <a:cubicBezTo>
                  <a:pt x="2301" y="2442"/>
                  <a:pt x="2275" y="2416"/>
                  <a:pt x="2242" y="2416"/>
                </a:cubicBezTo>
                <a:close/>
                <a:moveTo>
                  <a:pt x="2286" y="2622"/>
                </a:moveTo>
                <a:cubicBezTo>
                  <a:pt x="2251" y="2622"/>
                  <a:pt x="2223" y="2651"/>
                  <a:pt x="2223" y="2686"/>
                </a:cubicBezTo>
                <a:cubicBezTo>
                  <a:pt x="2223" y="2721"/>
                  <a:pt x="2251" y="2749"/>
                  <a:pt x="2286" y="2749"/>
                </a:cubicBezTo>
                <a:cubicBezTo>
                  <a:pt x="2321" y="2749"/>
                  <a:pt x="2349" y="2721"/>
                  <a:pt x="2349" y="2686"/>
                </a:cubicBezTo>
                <a:cubicBezTo>
                  <a:pt x="2349" y="2651"/>
                  <a:pt x="2321" y="2622"/>
                  <a:pt x="2286" y="2622"/>
                </a:cubicBezTo>
                <a:close/>
                <a:moveTo>
                  <a:pt x="2317" y="2833"/>
                </a:moveTo>
                <a:cubicBezTo>
                  <a:pt x="2281" y="2833"/>
                  <a:pt x="2252" y="2863"/>
                  <a:pt x="2252" y="2899"/>
                </a:cubicBezTo>
                <a:cubicBezTo>
                  <a:pt x="2252" y="2935"/>
                  <a:pt x="2281" y="2964"/>
                  <a:pt x="2317" y="2964"/>
                </a:cubicBezTo>
                <a:cubicBezTo>
                  <a:pt x="2353" y="2964"/>
                  <a:pt x="2383" y="2935"/>
                  <a:pt x="2383" y="2899"/>
                </a:cubicBezTo>
                <a:cubicBezTo>
                  <a:pt x="2383" y="2863"/>
                  <a:pt x="2353" y="2833"/>
                  <a:pt x="2317" y="2833"/>
                </a:cubicBezTo>
                <a:close/>
                <a:moveTo>
                  <a:pt x="2336" y="3047"/>
                </a:moveTo>
                <a:cubicBezTo>
                  <a:pt x="2299" y="3047"/>
                  <a:pt x="2270" y="3077"/>
                  <a:pt x="2270" y="3113"/>
                </a:cubicBezTo>
                <a:cubicBezTo>
                  <a:pt x="2270" y="3150"/>
                  <a:pt x="2299" y="3180"/>
                  <a:pt x="2336" y="3180"/>
                </a:cubicBezTo>
                <a:cubicBezTo>
                  <a:pt x="2373" y="3180"/>
                  <a:pt x="2402" y="3150"/>
                  <a:pt x="2402" y="3113"/>
                </a:cubicBezTo>
                <a:cubicBezTo>
                  <a:pt x="2402" y="3077"/>
                  <a:pt x="2373" y="3047"/>
                  <a:pt x="2336" y="3047"/>
                </a:cubicBezTo>
                <a:close/>
                <a:moveTo>
                  <a:pt x="2548" y="3267"/>
                </a:moveTo>
                <a:cubicBezTo>
                  <a:pt x="2514" y="3267"/>
                  <a:pt x="2486" y="3294"/>
                  <a:pt x="2486" y="3329"/>
                </a:cubicBezTo>
                <a:cubicBezTo>
                  <a:pt x="2486" y="3363"/>
                  <a:pt x="2514" y="3391"/>
                  <a:pt x="2548" y="3391"/>
                </a:cubicBezTo>
                <a:cubicBezTo>
                  <a:pt x="2582" y="3391"/>
                  <a:pt x="2610" y="3363"/>
                  <a:pt x="2610" y="3329"/>
                </a:cubicBezTo>
                <a:cubicBezTo>
                  <a:pt x="2610" y="3294"/>
                  <a:pt x="2582" y="3267"/>
                  <a:pt x="2548" y="3267"/>
                </a:cubicBezTo>
                <a:close/>
                <a:moveTo>
                  <a:pt x="2542" y="3479"/>
                </a:moveTo>
                <a:cubicBezTo>
                  <a:pt x="2506" y="3479"/>
                  <a:pt x="2477" y="3508"/>
                  <a:pt x="2477" y="3544"/>
                </a:cubicBezTo>
                <a:cubicBezTo>
                  <a:pt x="2477" y="3580"/>
                  <a:pt x="2506" y="3609"/>
                  <a:pt x="2542" y="3609"/>
                </a:cubicBezTo>
                <a:cubicBezTo>
                  <a:pt x="2578" y="3609"/>
                  <a:pt x="2607" y="3580"/>
                  <a:pt x="2607" y="3544"/>
                </a:cubicBezTo>
                <a:cubicBezTo>
                  <a:pt x="2607" y="3508"/>
                  <a:pt x="2578" y="3479"/>
                  <a:pt x="2542" y="3479"/>
                </a:cubicBezTo>
                <a:close/>
                <a:moveTo>
                  <a:pt x="2590" y="3759"/>
                </a:moveTo>
                <a:cubicBezTo>
                  <a:pt x="2590" y="3722"/>
                  <a:pt x="2561" y="3693"/>
                  <a:pt x="2524" y="3693"/>
                </a:cubicBezTo>
                <a:cubicBezTo>
                  <a:pt x="2488" y="3693"/>
                  <a:pt x="2458" y="3722"/>
                  <a:pt x="2458" y="3759"/>
                </a:cubicBezTo>
                <a:cubicBezTo>
                  <a:pt x="2458" y="3795"/>
                  <a:pt x="2488" y="3825"/>
                  <a:pt x="2524" y="3825"/>
                </a:cubicBezTo>
                <a:cubicBezTo>
                  <a:pt x="2561" y="3825"/>
                  <a:pt x="2590" y="3795"/>
                  <a:pt x="2590" y="3759"/>
                </a:cubicBezTo>
                <a:close/>
                <a:moveTo>
                  <a:pt x="2561" y="3972"/>
                </a:moveTo>
                <a:cubicBezTo>
                  <a:pt x="2561" y="3935"/>
                  <a:pt x="2531" y="3906"/>
                  <a:pt x="2495" y="3906"/>
                </a:cubicBezTo>
                <a:cubicBezTo>
                  <a:pt x="2458" y="3906"/>
                  <a:pt x="2428" y="3935"/>
                  <a:pt x="2428" y="3972"/>
                </a:cubicBezTo>
                <a:cubicBezTo>
                  <a:pt x="2428" y="4009"/>
                  <a:pt x="2458" y="4038"/>
                  <a:pt x="2495" y="4038"/>
                </a:cubicBezTo>
                <a:cubicBezTo>
                  <a:pt x="2531" y="4038"/>
                  <a:pt x="2561" y="4009"/>
                  <a:pt x="2561" y="3972"/>
                </a:cubicBezTo>
                <a:close/>
                <a:moveTo>
                  <a:pt x="2518" y="4183"/>
                </a:moveTo>
                <a:cubicBezTo>
                  <a:pt x="2518" y="4148"/>
                  <a:pt x="2489" y="4119"/>
                  <a:pt x="2453" y="4119"/>
                </a:cubicBezTo>
                <a:cubicBezTo>
                  <a:pt x="2418" y="4119"/>
                  <a:pt x="2389" y="4148"/>
                  <a:pt x="2389" y="4183"/>
                </a:cubicBezTo>
                <a:cubicBezTo>
                  <a:pt x="2389" y="4219"/>
                  <a:pt x="2418" y="4248"/>
                  <a:pt x="2453" y="4248"/>
                </a:cubicBezTo>
                <a:cubicBezTo>
                  <a:pt x="2489" y="4248"/>
                  <a:pt x="2518" y="4219"/>
                  <a:pt x="2518" y="4183"/>
                </a:cubicBezTo>
                <a:close/>
                <a:moveTo>
                  <a:pt x="2463" y="4392"/>
                </a:moveTo>
                <a:cubicBezTo>
                  <a:pt x="2463" y="4358"/>
                  <a:pt x="2435" y="4329"/>
                  <a:pt x="2400" y="4329"/>
                </a:cubicBezTo>
                <a:cubicBezTo>
                  <a:pt x="2366" y="4329"/>
                  <a:pt x="2338" y="4358"/>
                  <a:pt x="2338" y="4392"/>
                </a:cubicBezTo>
                <a:cubicBezTo>
                  <a:pt x="2338" y="4427"/>
                  <a:pt x="2366" y="4455"/>
                  <a:pt x="2400" y="4455"/>
                </a:cubicBezTo>
                <a:cubicBezTo>
                  <a:pt x="2435" y="4455"/>
                  <a:pt x="2463" y="4427"/>
                  <a:pt x="2463" y="4392"/>
                </a:cubicBezTo>
                <a:close/>
                <a:moveTo>
                  <a:pt x="2336" y="4657"/>
                </a:moveTo>
                <a:cubicBezTo>
                  <a:pt x="2369" y="4657"/>
                  <a:pt x="2395" y="4631"/>
                  <a:pt x="2395" y="4598"/>
                </a:cubicBezTo>
                <a:cubicBezTo>
                  <a:pt x="2395" y="4565"/>
                  <a:pt x="2369" y="4538"/>
                  <a:pt x="2336" y="4538"/>
                </a:cubicBezTo>
                <a:cubicBezTo>
                  <a:pt x="2303" y="4538"/>
                  <a:pt x="2277" y="4565"/>
                  <a:pt x="2277" y="4598"/>
                </a:cubicBezTo>
                <a:cubicBezTo>
                  <a:pt x="2277" y="4631"/>
                  <a:pt x="2303" y="4657"/>
                  <a:pt x="2336" y="4657"/>
                </a:cubicBezTo>
                <a:close/>
                <a:moveTo>
                  <a:pt x="2317" y="4800"/>
                </a:moveTo>
                <a:cubicBezTo>
                  <a:pt x="2317" y="4769"/>
                  <a:pt x="2292" y="4744"/>
                  <a:pt x="2261" y="4744"/>
                </a:cubicBezTo>
                <a:cubicBezTo>
                  <a:pt x="2230" y="4744"/>
                  <a:pt x="2205" y="4769"/>
                  <a:pt x="2205" y="4800"/>
                </a:cubicBezTo>
                <a:cubicBezTo>
                  <a:pt x="2205" y="4830"/>
                  <a:pt x="2230" y="4855"/>
                  <a:pt x="2261" y="4855"/>
                </a:cubicBezTo>
                <a:cubicBezTo>
                  <a:pt x="2292" y="4855"/>
                  <a:pt x="2317" y="4830"/>
                  <a:pt x="2317" y="4800"/>
                </a:cubicBezTo>
                <a:close/>
                <a:moveTo>
                  <a:pt x="2226" y="4997"/>
                </a:moveTo>
                <a:cubicBezTo>
                  <a:pt x="2226" y="4968"/>
                  <a:pt x="2203" y="4945"/>
                  <a:pt x="2174" y="4945"/>
                </a:cubicBezTo>
                <a:cubicBezTo>
                  <a:pt x="2145" y="4945"/>
                  <a:pt x="2122" y="4968"/>
                  <a:pt x="2122" y="4997"/>
                </a:cubicBezTo>
                <a:cubicBezTo>
                  <a:pt x="2122" y="5025"/>
                  <a:pt x="2145" y="5049"/>
                  <a:pt x="2174" y="5049"/>
                </a:cubicBezTo>
                <a:cubicBezTo>
                  <a:pt x="2203" y="5049"/>
                  <a:pt x="2226" y="5025"/>
                  <a:pt x="2226" y="4997"/>
                </a:cubicBezTo>
                <a:close/>
                <a:moveTo>
                  <a:pt x="2125" y="5189"/>
                </a:moveTo>
                <a:cubicBezTo>
                  <a:pt x="2125" y="5163"/>
                  <a:pt x="2103" y="5141"/>
                  <a:pt x="2077" y="5141"/>
                </a:cubicBezTo>
                <a:cubicBezTo>
                  <a:pt x="2050" y="5141"/>
                  <a:pt x="2029" y="5163"/>
                  <a:pt x="2029" y="5189"/>
                </a:cubicBezTo>
                <a:cubicBezTo>
                  <a:pt x="2029" y="5215"/>
                  <a:pt x="2050" y="5237"/>
                  <a:pt x="2077" y="5237"/>
                </a:cubicBezTo>
                <a:cubicBezTo>
                  <a:pt x="2103" y="5237"/>
                  <a:pt x="2125" y="5215"/>
                  <a:pt x="2125" y="5189"/>
                </a:cubicBezTo>
                <a:close/>
                <a:moveTo>
                  <a:pt x="1969" y="5332"/>
                </a:moveTo>
                <a:cubicBezTo>
                  <a:pt x="1945" y="5332"/>
                  <a:pt x="1926" y="5352"/>
                  <a:pt x="1926" y="5376"/>
                </a:cubicBezTo>
                <a:cubicBezTo>
                  <a:pt x="1926" y="5399"/>
                  <a:pt x="1945" y="5419"/>
                  <a:pt x="1969" y="5419"/>
                </a:cubicBezTo>
                <a:cubicBezTo>
                  <a:pt x="1993" y="5419"/>
                  <a:pt x="2013" y="5399"/>
                  <a:pt x="2013" y="5376"/>
                </a:cubicBezTo>
                <a:cubicBezTo>
                  <a:pt x="2013" y="5352"/>
                  <a:pt x="1993" y="5332"/>
                  <a:pt x="1969" y="5332"/>
                </a:cubicBezTo>
                <a:close/>
                <a:moveTo>
                  <a:pt x="1851" y="5518"/>
                </a:moveTo>
                <a:cubicBezTo>
                  <a:pt x="1830" y="5518"/>
                  <a:pt x="1813" y="5535"/>
                  <a:pt x="1813" y="5556"/>
                </a:cubicBezTo>
                <a:cubicBezTo>
                  <a:pt x="1813" y="5577"/>
                  <a:pt x="1830" y="5594"/>
                  <a:pt x="1851" y="5594"/>
                </a:cubicBezTo>
                <a:cubicBezTo>
                  <a:pt x="1872" y="5594"/>
                  <a:pt x="1890" y="5577"/>
                  <a:pt x="1890" y="5556"/>
                </a:cubicBezTo>
                <a:cubicBezTo>
                  <a:pt x="1890" y="5535"/>
                  <a:pt x="1872" y="5518"/>
                  <a:pt x="1851" y="5518"/>
                </a:cubicBezTo>
                <a:close/>
                <a:moveTo>
                  <a:pt x="1724" y="5697"/>
                </a:moveTo>
                <a:cubicBezTo>
                  <a:pt x="1706" y="5697"/>
                  <a:pt x="1691" y="5711"/>
                  <a:pt x="1691" y="5729"/>
                </a:cubicBezTo>
                <a:cubicBezTo>
                  <a:pt x="1691" y="5747"/>
                  <a:pt x="1706" y="5762"/>
                  <a:pt x="1724" y="5762"/>
                </a:cubicBezTo>
                <a:cubicBezTo>
                  <a:pt x="1742" y="5762"/>
                  <a:pt x="1756" y="5747"/>
                  <a:pt x="1756" y="5729"/>
                </a:cubicBezTo>
                <a:cubicBezTo>
                  <a:pt x="1756" y="5711"/>
                  <a:pt x="1742" y="5697"/>
                  <a:pt x="1724" y="5697"/>
                </a:cubicBezTo>
                <a:close/>
                <a:moveTo>
                  <a:pt x="1587" y="5868"/>
                </a:moveTo>
                <a:cubicBezTo>
                  <a:pt x="1572" y="5868"/>
                  <a:pt x="1559" y="5881"/>
                  <a:pt x="1559" y="5896"/>
                </a:cubicBezTo>
                <a:cubicBezTo>
                  <a:pt x="1559" y="5911"/>
                  <a:pt x="1572" y="5923"/>
                  <a:pt x="1587" y="5923"/>
                </a:cubicBezTo>
                <a:cubicBezTo>
                  <a:pt x="1602" y="5923"/>
                  <a:pt x="1614" y="5911"/>
                  <a:pt x="1614" y="5896"/>
                </a:cubicBezTo>
                <a:cubicBezTo>
                  <a:pt x="1614" y="5881"/>
                  <a:pt x="1602" y="5868"/>
                  <a:pt x="1587" y="5868"/>
                </a:cubicBezTo>
                <a:close/>
                <a:moveTo>
                  <a:pt x="1441" y="6033"/>
                </a:moveTo>
                <a:cubicBezTo>
                  <a:pt x="1429" y="6033"/>
                  <a:pt x="1420" y="6042"/>
                  <a:pt x="1420" y="6054"/>
                </a:cubicBezTo>
                <a:cubicBezTo>
                  <a:pt x="1420" y="6066"/>
                  <a:pt x="1429" y="6075"/>
                  <a:pt x="1441" y="6075"/>
                </a:cubicBezTo>
                <a:cubicBezTo>
                  <a:pt x="1453" y="6075"/>
                  <a:pt x="1462" y="6066"/>
                  <a:pt x="1462" y="6054"/>
                </a:cubicBezTo>
                <a:cubicBezTo>
                  <a:pt x="1462" y="6042"/>
                  <a:pt x="1453" y="6033"/>
                  <a:pt x="1441" y="6033"/>
                </a:cubicBezTo>
                <a:close/>
                <a:moveTo>
                  <a:pt x="1287" y="6189"/>
                </a:moveTo>
                <a:cubicBezTo>
                  <a:pt x="1278" y="6189"/>
                  <a:pt x="1271" y="6196"/>
                  <a:pt x="1271" y="6204"/>
                </a:cubicBezTo>
                <a:cubicBezTo>
                  <a:pt x="1271" y="6213"/>
                  <a:pt x="1278" y="6220"/>
                  <a:pt x="1287" y="6220"/>
                </a:cubicBezTo>
                <a:cubicBezTo>
                  <a:pt x="1295" y="6220"/>
                  <a:pt x="1302" y="6213"/>
                  <a:pt x="1302" y="6204"/>
                </a:cubicBezTo>
                <a:cubicBezTo>
                  <a:pt x="1302" y="6196"/>
                  <a:pt x="1295" y="6189"/>
                  <a:pt x="1287" y="6189"/>
                </a:cubicBezTo>
                <a:close/>
                <a:moveTo>
                  <a:pt x="1124" y="6336"/>
                </a:moveTo>
                <a:cubicBezTo>
                  <a:pt x="1119" y="6336"/>
                  <a:pt x="1114" y="6340"/>
                  <a:pt x="1114" y="6346"/>
                </a:cubicBezTo>
                <a:cubicBezTo>
                  <a:pt x="1114" y="6351"/>
                  <a:pt x="1119" y="6356"/>
                  <a:pt x="1124" y="6356"/>
                </a:cubicBezTo>
                <a:cubicBezTo>
                  <a:pt x="1129" y="6356"/>
                  <a:pt x="1134" y="6351"/>
                  <a:pt x="1134" y="6346"/>
                </a:cubicBezTo>
                <a:cubicBezTo>
                  <a:pt x="1134" y="6340"/>
                  <a:pt x="1129" y="6336"/>
                  <a:pt x="1124" y="6336"/>
                </a:cubicBezTo>
                <a:close/>
                <a:moveTo>
                  <a:pt x="954" y="6472"/>
                </a:moveTo>
                <a:cubicBezTo>
                  <a:pt x="951" y="6472"/>
                  <a:pt x="948" y="6475"/>
                  <a:pt x="948" y="6478"/>
                </a:cubicBezTo>
                <a:cubicBezTo>
                  <a:pt x="948" y="6481"/>
                  <a:pt x="951" y="6484"/>
                  <a:pt x="954" y="6484"/>
                </a:cubicBezTo>
                <a:cubicBezTo>
                  <a:pt x="957" y="6484"/>
                  <a:pt x="960" y="6481"/>
                  <a:pt x="960" y="6478"/>
                </a:cubicBezTo>
                <a:cubicBezTo>
                  <a:pt x="960" y="6475"/>
                  <a:pt x="957" y="6472"/>
                  <a:pt x="954" y="6472"/>
                </a:cubicBezTo>
                <a:close/>
                <a:moveTo>
                  <a:pt x="777" y="6598"/>
                </a:moveTo>
                <a:cubicBezTo>
                  <a:pt x="776" y="6598"/>
                  <a:pt x="774" y="6599"/>
                  <a:pt x="774" y="6601"/>
                </a:cubicBezTo>
                <a:cubicBezTo>
                  <a:pt x="774" y="6602"/>
                  <a:pt x="776" y="6604"/>
                  <a:pt x="777" y="6604"/>
                </a:cubicBezTo>
                <a:cubicBezTo>
                  <a:pt x="779" y="6604"/>
                  <a:pt x="780" y="6602"/>
                  <a:pt x="780" y="6601"/>
                </a:cubicBezTo>
                <a:cubicBezTo>
                  <a:pt x="780" y="6599"/>
                  <a:pt x="779" y="6598"/>
                  <a:pt x="777" y="6598"/>
                </a:cubicBezTo>
                <a:close/>
                <a:moveTo>
                  <a:pt x="777" y="58"/>
                </a:moveTo>
                <a:cubicBezTo>
                  <a:pt x="778" y="58"/>
                  <a:pt x="778" y="57"/>
                  <a:pt x="778" y="57"/>
                </a:cubicBezTo>
                <a:cubicBezTo>
                  <a:pt x="778" y="56"/>
                  <a:pt x="778" y="55"/>
                  <a:pt x="777" y="55"/>
                </a:cubicBezTo>
                <a:cubicBezTo>
                  <a:pt x="777" y="55"/>
                  <a:pt x="776" y="56"/>
                  <a:pt x="776" y="57"/>
                </a:cubicBezTo>
                <a:cubicBezTo>
                  <a:pt x="776" y="57"/>
                  <a:pt x="777" y="58"/>
                  <a:pt x="777" y="58"/>
                </a:cubicBezTo>
                <a:close/>
                <a:moveTo>
                  <a:pt x="954" y="181"/>
                </a:moveTo>
                <a:cubicBezTo>
                  <a:pt x="955" y="181"/>
                  <a:pt x="956" y="180"/>
                  <a:pt x="956" y="179"/>
                </a:cubicBezTo>
                <a:cubicBezTo>
                  <a:pt x="956" y="178"/>
                  <a:pt x="955" y="178"/>
                  <a:pt x="954" y="178"/>
                </a:cubicBezTo>
                <a:cubicBezTo>
                  <a:pt x="953" y="178"/>
                  <a:pt x="952" y="178"/>
                  <a:pt x="952" y="179"/>
                </a:cubicBezTo>
                <a:cubicBezTo>
                  <a:pt x="952" y="180"/>
                  <a:pt x="953" y="181"/>
                  <a:pt x="954" y="181"/>
                </a:cubicBezTo>
                <a:close/>
                <a:moveTo>
                  <a:pt x="1124" y="313"/>
                </a:moveTo>
                <a:cubicBezTo>
                  <a:pt x="1125" y="313"/>
                  <a:pt x="1126" y="313"/>
                  <a:pt x="1126" y="312"/>
                </a:cubicBezTo>
                <a:cubicBezTo>
                  <a:pt x="1126" y="311"/>
                  <a:pt x="1125" y="310"/>
                  <a:pt x="1124" y="310"/>
                </a:cubicBezTo>
                <a:cubicBezTo>
                  <a:pt x="1123" y="310"/>
                  <a:pt x="1122" y="311"/>
                  <a:pt x="1122" y="312"/>
                </a:cubicBezTo>
                <a:cubicBezTo>
                  <a:pt x="1122" y="313"/>
                  <a:pt x="1123" y="313"/>
                  <a:pt x="1124" y="313"/>
                </a:cubicBezTo>
                <a:close/>
                <a:moveTo>
                  <a:pt x="1287" y="455"/>
                </a:moveTo>
                <a:cubicBezTo>
                  <a:pt x="1288" y="455"/>
                  <a:pt x="1289" y="454"/>
                  <a:pt x="1289" y="453"/>
                </a:cubicBezTo>
                <a:cubicBezTo>
                  <a:pt x="1289" y="452"/>
                  <a:pt x="1288" y="451"/>
                  <a:pt x="1287" y="451"/>
                </a:cubicBezTo>
                <a:cubicBezTo>
                  <a:pt x="1285" y="451"/>
                  <a:pt x="1284" y="452"/>
                  <a:pt x="1284" y="453"/>
                </a:cubicBezTo>
                <a:cubicBezTo>
                  <a:pt x="1284" y="454"/>
                  <a:pt x="1285" y="455"/>
                  <a:pt x="1287" y="455"/>
                </a:cubicBezTo>
                <a:close/>
                <a:moveTo>
                  <a:pt x="1441" y="606"/>
                </a:moveTo>
                <a:cubicBezTo>
                  <a:pt x="1443" y="606"/>
                  <a:pt x="1444" y="605"/>
                  <a:pt x="1444" y="603"/>
                </a:cubicBezTo>
                <a:cubicBezTo>
                  <a:pt x="1444" y="602"/>
                  <a:pt x="1443" y="600"/>
                  <a:pt x="1441" y="600"/>
                </a:cubicBezTo>
                <a:cubicBezTo>
                  <a:pt x="1439" y="600"/>
                  <a:pt x="1438" y="602"/>
                  <a:pt x="1438" y="603"/>
                </a:cubicBezTo>
                <a:cubicBezTo>
                  <a:pt x="1438" y="605"/>
                  <a:pt x="1439" y="606"/>
                  <a:pt x="1441" y="606"/>
                </a:cubicBezTo>
                <a:close/>
                <a:moveTo>
                  <a:pt x="1587" y="766"/>
                </a:moveTo>
                <a:cubicBezTo>
                  <a:pt x="1589" y="766"/>
                  <a:pt x="1591" y="764"/>
                  <a:pt x="1591" y="762"/>
                </a:cubicBezTo>
                <a:cubicBezTo>
                  <a:pt x="1591" y="760"/>
                  <a:pt x="1589" y="758"/>
                  <a:pt x="1587" y="758"/>
                </a:cubicBezTo>
                <a:cubicBezTo>
                  <a:pt x="1585" y="758"/>
                  <a:pt x="1583" y="760"/>
                  <a:pt x="1583" y="762"/>
                </a:cubicBezTo>
                <a:cubicBezTo>
                  <a:pt x="1583" y="764"/>
                  <a:pt x="1585" y="766"/>
                  <a:pt x="1587" y="766"/>
                </a:cubicBezTo>
                <a:close/>
                <a:moveTo>
                  <a:pt x="1724" y="934"/>
                </a:moveTo>
                <a:cubicBezTo>
                  <a:pt x="1727" y="934"/>
                  <a:pt x="1729" y="931"/>
                  <a:pt x="1729" y="928"/>
                </a:cubicBezTo>
                <a:cubicBezTo>
                  <a:pt x="1729" y="925"/>
                  <a:pt x="1727" y="922"/>
                  <a:pt x="1724" y="922"/>
                </a:cubicBezTo>
                <a:cubicBezTo>
                  <a:pt x="1721" y="922"/>
                  <a:pt x="1718" y="925"/>
                  <a:pt x="1718" y="928"/>
                </a:cubicBezTo>
                <a:cubicBezTo>
                  <a:pt x="1718" y="931"/>
                  <a:pt x="1721" y="934"/>
                  <a:pt x="1724" y="934"/>
                </a:cubicBezTo>
                <a:close/>
                <a:moveTo>
                  <a:pt x="1851" y="1111"/>
                </a:moveTo>
                <a:cubicBezTo>
                  <a:pt x="1857" y="1111"/>
                  <a:pt x="1861" y="1107"/>
                  <a:pt x="1861" y="1102"/>
                </a:cubicBezTo>
                <a:cubicBezTo>
                  <a:pt x="1861" y="1096"/>
                  <a:pt x="1857" y="1092"/>
                  <a:pt x="1851" y="1092"/>
                </a:cubicBezTo>
                <a:cubicBezTo>
                  <a:pt x="1846" y="1092"/>
                  <a:pt x="1842" y="1096"/>
                  <a:pt x="1842" y="1102"/>
                </a:cubicBezTo>
                <a:cubicBezTo>
                  <a:pt x="1842" y="1107"/>
                  <a:pt x="1846" y="1111"/>
                  <a:pt x="1851" y="1111"/>
                </a:cubicBezTo>
                <a:close/>
                <a:moveTo>
                  <a:pt x="1969" y="1297"/>
                </a:moveTo>
                <a:cubicBezTo>
                  <a:pt x="1977" y="1297"/>
                  <a:pt x="1984" y="1290"/>
                  <a:pt x="1984" y="1282"/>
                </a:cubicBezTo>
                <a:cubicBezTo>
                  <a:pt x="1984" y="1274"/>
                  <a:pt x="1977" y="1267"/>
                  <a:pt x="1969" y="1267"/>
                </a:cubicBezTo>
                <a:cubicBezTo>
                  <a:pt x="1961" y="1267"/>
                  <a:pt x="1954" y="1274"/>
                  <a:pt x="1954" y="1282"/>
                </a:cubicBezTo>
                <a:cubicBezTo>
                  <a:pt x="1954" y="1290"/>
                  <a:pt x="1961" y="1297"/>
                  <a:pt x="1969" y="1297"/>
                </a:cubicBezTo>
                <a:close/>
                <a:moveTo>
                  <a:pt x="2077" y="1490"/>
                </a:moveTo>
                <a:cubicBezTo>
                  <a:pt x="2089" y="1490"/>
                  <a:pt x="2098" y="1480"/>
                  <a:pt x="2098" y="1468"/>
                </a:cubicBezTo>
                <a:cubicBezTo>
                  <a:pt x="2098" y="1457"/>
                  <a:pt x="2089" y="1447"/>
                  <a:pt x="2077" y="1447"/>
                </a:cubicBezTo>
                <a:cubicBezTo>
                  <a:pt x="2065" y="1447"/>
                  <a:pt x="2056" y="1457"/>
                  <a:pt x="2056" y="1468"/>
                </a:cubicBezTo>
                <a:cubicBezTo>
                  <a:pt x="2056" y="1480"/>
                  <a:pt x="2065" y="1490"/>
                  <a:pt x="2077" y="1490"/>
                </a:cubicBezTo>
                <a:close/>
                <a:moveTo>
                  <a:pt x="2174" y="1688"/>
                </a:moveTo>
                <a:cubicBezTo>
                  <a:pt x="2189" y="1688"/>
                  <a:pt x="2201" y="1676"/>
                  <a:pt x="2201" y="1661"/>
                </a:cubicBezTo>
                <a:cubicBezTo>
                  <a:pt x="2201" y="1646"/>
                  <a:pt x="2189" y="1633"/>
                  <a:pt x="2174" y="1633"/>
                </a:cubicBezTo>
                <a:cubicBezTo>
                  <a:pt x="2159" y="1633"/>
                  <a:pt x="2147" y="1646"/>
                  <a:pt x="2147" y="1661"/>
                </a:cubicBezTo>
                <a:cubicBezTo>
                  <a:pt x="2147" y="1676"/>
                  <a:pt x="2159" y="1688"/>
                  <a:pt x="2174" y="1688"/>
                </a:cubicBezTo>
                <a:close/>
                <a:moveTo>
                  <a:pt x="2261" y="1890"/>
                </a:moveTo>
                <a:cubicBezTo>
                  <a:pt x="2278" y="1890"/>
                  <a:pt x="2293" y="1876"/>
                  <a:pt x="2293" y="1858"/>
                </a:cubicBezTo>
                <a:cubicBezTo>
                  <a:pt x="2293" y="1840"/>
                  <a:pt x="2278" y="1826"/>
                  <a:pt x="2261" y="1826"/>
                </a:cubicBezTo>
                <a:cubicBezTo>
                  <a:pt x="2243" y="1826"/>
                  <a:pt x="2229" y="1840"/>
                  <a:pt x="2229" y="1858"/>
                </a:cubicBezTo>
                <a:cubicBezTo>
                  <a:pt x="2229" y="1876"/>
                  <a:pt x="2243" y="1890"/>
                  <a:pt x="2261" y="1890"/>
                </a:cubicBezTo>
                <a:close/>
                <a:moveTo>
                  <a:pt x="2336" y="2094"/>
                </a:moveTo>
                <a:cubicBezTo>
                  <a:pt x="2355" y="2094"/>
                  <a:pt x="2371" y="2079"/>
                  <a:pt x="2371" y="2060"/>
                </a:cubicBezTo>
                <a:cubicBezTo>
                  <a:pt x="2371" y="2040"/>
                  <a:pt x="2355" y="2025"/>
                  <a:pt x="2336" y="2025"/>
                </a:cubicBezTo>
                <a:cubicBezTo>
                  <a:pt x="2317" y="2025"/>
                  <a:pt x="2301" y="2040"/>
                  <a:pt x="2301" y="2060"/>
                </a:cubicBezTo>
                <a:cubicBezTo>
                  <a:pt x="2301" y="2079"/>
                  <a:pt x="2317" y="2094"/>
                  <a:pt x="2336" y="2094"/>
                </a:cubicBezTo>
                <a:close/>
                <a:moveTo>
                  <a:pt x="2400" y="2303"/>
                </a:moveTo>
                <a:cubicBezTo>
                  <a:pt x="2421" y="2303"/>
                  <a:pt x="2438" y="2286"/>
                  <a:pt x="2438" y="2265"/>
                </a:cubicBezTo>
                <a:cubicBezTo>
                  <a:pt x="2438" y="2244"/>
                  <a:pt x="2421" y="2228"/>
                  <a:pt x="2400" y="2228"/>
                </a:cubicBezTo>
                <a:cubicBezTo>
                  <a:pt x="2380" y="2228"/>
                  <a:pt x="2363" y="2244"/>
                  <a:pt x="2363" y="2265"/>
                </a:cubicBezTo>
                <a:cubicBezTo>
                  <a:pt x="2363" y="2286"/>
                  <a:pt x="2380" y="2303"/>
                  <a:pt x="2400" y="2303"/>
                </a:cubicBezTo>
                <a:close/>
                <a:moveTo>
                  <a:pt x="2412" y="2474"/>
                </a:moveTo>
                <a:cubicBezTo>
                  <a:pt x="2412" y="2497"/>
                  <a:pt x="2431" y="2515"/>
                  <a:pt x="2453" y="2515"/>
                </a:cubicBezTo>
                <a:cubicBezTo>
                  <a:pt x="2476" y="2515"/>
                  <a:pt x="2494" y="2497"/>
                  <a:pt x="2494" y="2474"/>
                </a:cubicBezTo>
                <a:cubicBezTo>
                  <a:pt x="2494" y="2451"/>
                  <a:pt x="2476" y="2433"/>
                  <a:pt x="2453" y="2433"/>
                </a:cubicBezTo>
                <a:cubicBezTo>
                  <a:pt x="2431" y="2433"/>
                  <a:pt x="2412" y="2451"/>
                  <a:pt x="2412" y="2474"/>
                </a:cubicBezTo>
                <a:close/>
                <a:moveTo>
                  <a:pt x="2449" y="2685"/>
                </a:moveTo>
                <a:cubicBezTo>
                  <a:pt x="2449" y="2711"/>
                  <a:pt x="2469" y="2731"/>
                  <a:pt x="2495" y="2731"/>
                </a:cubicBezTo>
                <a:cubicBezTo>
                  <a:pt x="2520" y="2731"/>
                  <a:pt x="2540" y="2711"/>
                  <a:pt x="2540" y="2685"/>
                </a:cubicBezTo>
                <a:cubicBezTo>
                  <a:pt x="2540" y="2660"/>
                  <a:pt x="2520" y="2640"/>
                  <a:pt x="2495" y="2640"/>
                </a:cubicBezTo>
                <a:cubicBezTo>
                  <a:pt x="2469" y="2640"/>
                  <a:pt x="2449" y="2660"/>
                  <a:pt x="2449" y="2685"/>
                </a:cubicBezTo>
                <a:close/>
                <a:moveTo>
                  <a:pt x="2524" y="2847"/>
                </a:moveTo>
                <a:cubicBezTo>
                  <a:pt x="2496" y="2847"/>
                  <a:pt x="2472" y="2870"/>
                  <a:pt x="2472" y="2899"/>
                </a:cubicBezTo>
                <a:cubicBezTo>
                  <a:pt x="2472" y="2927"/>
                  <a:pt x="2496" y="2951"/>
                  <a:pt x="2524" y="2951"/>
                </a:cubicBezTo>
                <a:cubicBezTo>
                  <a:pt x="2553" y="2951"/>
                  <a:pt x="2576" y="2927"/>
                  <a:pt x="2576" y="2899"/>
                </a:cubicBezTo>
                <a:cubicBezTo>
                  <a:pt x="2576" y="2870"/>
                  <a:pt x="2553" y="2847"/>
                  <a:pt x="2524" y="2847"/>
                </a:cubicBezTo>
                <a:close/>
                <a:moveTo>
                  <a:pt x="2484" y="3113"/>
                </a:moveTo>
                <a:cubicBezTo>
                  <a:pt x="2484" y="3145"/>
                  <a:pt x="2510" y="3171"/>
                  <a:pt x="2542" y="3171"/>
                </a:cubicBezTo>
                <a:cubicBezTo>
                  <a:pt x="2574" y="3171"/>
                  <a:pt x="2600" y="3145"/>
                  <a:pt x="2600" y="3113"/>
                </a:cubicBezTo>
                <a:cubicBezTo>
                  <a:pt x="2600" y="3082"/>
                  <a:pt x="2574" y="3056"/>
                  <a:pt x="2542" y="3056"/>
                </a:cubicBezTo>
                <a:cubicBezTo>
                  <a:pt x="2510" y="3056"/>
                  <a:pt x="2484" y="3082"/>
                  <a:pt x="2484" y="3113"/>
                </a:cubicBezTo>
                <a:close/>
                <a:moveTo>
                  <a:pt x="2754" y="3298"/>
                </a:moveTo>
                <a:cubicBezTo>
                  <a:pt x="2737" y="3298"/>
                  <a:pt x="2723" y="3312"/>
                  <a:pt x="2723" y="3329"/>
                </a:cubicBezTo>
                <a:cubicBezTo>
                  <a:pt x="2723" y="3346"/>
                  <a:pt x="2737" y="3360"/>
                  <a:pt x="2754" y="3360"/>
                </a:cubicBezTo>
                <a:cubicBezTo>
                  <a:pt x="2771" y="3360"/>
                  <a:pt x="2784" y="3346"/>
                  <a:pt x="2784" y="3329"/>
                </a:cubicBezTo>
                <a:cubicBezTo>
                  <a:pt x="2784" y="3312"/>
                  <a:pt x="2771" y="3298"/>
                  <a:pt x="2754" y="3298"/>
                </a:cubicBezTo>
                <a:close/>
                <a:moveTo>
                  <a:pt x="2748" y="3508"/>
                </a:moveTo>
                <a:cubicBezTo>
                  <a:pt x="2728" y="3508"/>
                  <a:pt x="2712" y="3524"/>
                  <a:pt x="2712" y="3544"/>
                </a:cubicBezTo>
                <a:cubicBezTo>
                  <a:pt x="2712" y="3564"/>
                  <a:pt x="2728" y="3580"/>
                  <a:pt x="2748" y="3580"/>
                </a:cubicBezTo>
                <a:cubicBezTo>
                  <a:pt x="2768" y="3580"/>
                  <a:pt x="2784" y="3564"/>
                  <a:pt x="2784" y="3544"/>
                </a:cubicBezTo>
                <a:cubicBezTo>
                  <a:pt x="2784" y="3524"/>
                  <a:pt x="2768" y="3508"/>
                  <a:pt x="2748" y="3508"/>
                </a:cubicBezTo>
                <a:close/>
                <a:moveTo>
                  <a:pt x="2731" y="3722"/>
                </a:moveTo>
                <a:cubicBezTo>
                  <a:pt x="2711" y="3722"/>
                  <a:pt x="2694" y="3738"/>
                  <a:pt x="2694" y="3759"/>
                </a:cubicBezTo>
                <a:cubicBezTo>
                  <a:pt x="2694" y="3779"/>
                  <a:pt x="2711" y="3796"/>
                  <a:pt x="2731" y="3796"/>
                </a:cubicBezTo>
                <a:cubicBezTo>
                  <a:pt x="2752" y="3796"/>
                  <a:pt x="2768" y="3779"/>
                  <a:pt x="2768" y="3759"/>
                </a:cubicBezTo>
                <a:cubicBezTo>
                  <a:pt x="2768" y="3738"/>
                  <a:pt x="2752" y="3722"/>
                  <a:pt x="2731" y="3722"/>
                </a:cubicBezTo>
                <a:close/>
                <a:moveTo>
                  <a:pt x="2703" y="3931"/>
                </a:moveTo>
                <a:cubicBezTo>
                  <a:pt x="2680" y="3931"/>
                  <a:pt x="2662" y="3950"/>
                  <a:pt x="2662" y="3972"/>
                </a:cubicBezTo>
                <a:cubicBezTo>
                  <a:pt x="2662" y="3995"/>
                  <a:pt x="2680" y="4013"/>
                  <a:pt x="2703" y="4013"/>
                </a:cubicBezTo>
                <a:cubicBezTo>
                  <a:pt x="2726" y="4013"/>
                  <a:pt x="2744" y="3995"/>
                  <a:pt x="2744" y="3972"/>
                </a:cubicBezTo>
                <a:cubicBezTo>
                  <a:pt x="2744" y="3950"/>
                  <a:pt x="2726" y="3931"/>
                  <a:pt x="2703" y="3931"/>
                </a:cubicBezTo>
                <a:close/>
                <a:moveTo>
                  <a:pt x="2664" y="4142"/>
                </a:moveTo>
                <a:cubicBezTo>
                  <a:pt x="2641" y="4142"/>
                  <a:pt x="2622" y="4161"/>
                  <a:pt x="2622" y="4184"/>
                </a:cubicBezTo>
                <a:cubicBezTo>
                  <a:pt x="2622" y="4207"/>
                  <a:pt x="2641" y="4226"/>
                  <a:pt x="2664" y="4226"/>
                </a:cubicBezTo>
                <a:cubicBezTo>
                  <a:pt x="2687" y="4226"/>
                  <a:pt x="2705" y="4207"/>
                  <a:pt x="2705" y="4184"/>
                </a:cubicBezTo>
                <a:cubicBezTo>
                  <a:pt x="2705" y="4161"/>
                  <a:pt x="2687" y="4142"/>
                  <a:pt x="2664" y="4142"/>
                </a:cubicBezTo>
                <a:close/>
                <a:moveTo>
                  <a:pt x="2613" y="4351"/>
                </a:moveTo>
                <a:cubicBezTo>
                  <a:pt x="2590" y="4351"/>
                  <a:pt x="2571" y="4370"/>
                  <a:pt x="2571" y="4394"/>
                </a:cubicBezTo>
                <a:cubicBezTo>
                  <a:pt x="2571" y="4417"/>
                  <a:pt x="2590" y="4436"/>
                  <a:pt x="2613" y="4436"/>
                </a:cubicBezTo>
                <a:cubicBezTo>
                  <a:pt x="2637" y="4436"/>
                  <a:pt x="2656" y="4417"/>
                  <a:pt x="2656" y="4394"/>
                </a:cubicBezTo>
                <a:cubicBezTo>
                  <a:pt x="2656" y="4370"/>
                  <a:pt x="2637" y="4351"/>
                  <a:pt x="2613" y="4351"/>
                </a:cubicBezTo>
                <a:close/>
                <a:moveTo>
                  <a:pt x="2552" y="4557"/>
                </a:moveTo>
                <a:cubicBezTo>
                  <a:pt x="2528" y="4557"/>
                  <a:pt x="2509" y="4576"/>
                  <a:pt x="2509" y="4600"/>
                </a:cubicBezTo>
                <a:cubicBezTo>
                  <a:pt x="2509" y="4624"/>
                  <a:pt x="2528" y="4643"/>
                  <a:pt x="2552" y="4643"/>
                </a:cubicBezTo>
                <a:cubicBezTo>
                  <a:pt x="2576" y="4643"/>
                  <a:pt x="2596" y="4624"/>
                  <a:pt x="2596" y="4600"/>
                </a:cubicBezTo>
                <a:cubicBezTo>
                  <a:pt x="2596" y="4576"/>
                  <a:pt x="2576" y="4557"/>
                  <a:pt x="2552" y="4557"/>
                </a:cubicBezTo>
                <a:close/>
                <a:moveTo>
                  <a:pt x="2480" y="4761"/>
                </a:moveTo>
                <a:cubicBezTo>
                  <a:pt x="2457" y="4761"/>
                  <a:pt x="2439" y="4780"/>
                  <a:pt x="2439" y="4803"/>
                </a:cubicBezTo>
                <a:cubicBezTo>
                  <a:pt x="2439" y="4826"/>
                  <a:pt x="2457" y="4845"/>
                  <a:pt x="2480" y="4845"/>
                </a:cubicBezTo>
                <a:cubicBezTo>
                  <a:pt x="2503" y="4845"/>
                  <a:pt x="2522" y="4826"/>
                  <a:pt x="2522" y="4803"/>
                </a:cubicBezTo>
                <a:cubicBezTo>
                  <a:pt x="2522" y="4780"/>
                  <a:pt x="2503" y="4761"/>
                  <a:pt x="2480" y="4761"/>
                </a:cubicBezTo>
                <a:close/>
                <a:moveTo>
                  <a:pt x="2398" y="4961"/>
                </a:moveTo>
                <a:cubicBezTo>
                  <a:pt x="2375" y="4961"/>
                  <a:pt x="2357" y="4979"/>
                  <a:pt x="2357" y="5002"/>
                </a:cubicBezTo>
                <a:cubicBezTo>
                  <a:pt x="2357" y="5025"/>
                  <a:pt x="2375" y="5043"/>
                  <a:pt x="2398" y="5043"/>
                </a:cubicBezTo>
                <a:cubicBezTo>
                  <a:pt x="2421" y="5043"/>
                  <a:pt x="2439" y="5025"/>
                  <a:pt x="2439" y="5002"/>
                </a:cubicBezTo>
                <a:cubicBezTo>
                  <a:pt x="2439" y="4979"/>
                  <a:pt x="2421" y="4961"/>
                  <a:pt x="2398" y="4961"/>
                </a:cubicBezTo>
                <a:close/>
                <a:moveTo>
                  <a:pt x="2305" y="5157"/>
                </a:moveTo>
                <a:cubicBezTo>
                  <a:pt x="2283" y="5157"/>
                  <a:pt x="2265" y="5175"/>
                  <a:pt x="2265" y="5197"/>
                </a:cubicBezTo>
                <a:cubicBezTo>
                  <a:pt x="2265" y="5219"/>
                  <a:pt x="2283" y="5236"/>
                  <a:pt x="2305" y="5236"/>
                </a:cubicBezTo>
                <a:cubicBezTo>
                  <a:pt x="2327" y="5236"/>
                  <a:pt x="2345" y="5219"/>
                  <a:pt x="2345" y="5197"/>
                </a:cubicBezTo>
                <a:cubicBezTo>
                  <a:pt x="2345" y="5175"/>
                  <a:pt x="2327" y="5157"/>
                  <a:pt x="2305" y="5157"/>
                </a:cubicBezTo>
                <a:close/>
                <a:moveTo>
                  <a:pt x="2202" y="5348"/>
                </a:moveTo>
                <a:cubicBezTo>
                  <a:pt x="2182" y="5348"/>
                  <a:pt x="2165" y="5365"/>
                  <a:pt x="2165" y="5386"/>
                </a:cubicBezTo>
                <a:cubicBezTo>
                  <a:pt x="2165" y="5407"/>
                  <a:pt x="2182" y="5424"/>
                  <a:pt x="2202" y="5424"/>
                </a:cubicBezTo>
                <a:cubicBezTo>
                  <a:pt x="2223" y="5424"/>
                  <a:pt x="2240" y="5407"/>
                  <a:pt x="2240" y="5386"/>
                </a:cubicBezTo>
                <a:cubicBezTo>
                  <a:pt x="2240" y="5365"/>
                  <a:pt x="2223" y="5348"/>
                  <a:pt x="2202" y="5348"/>
                </a:cubicBezTo>
                <a:close/>
                <a:moveTo>
                  <a:pt x="2090" y="5534"/>
                </a:moveTo>
                <a:cubicBezTo>
                  <a:pt x="2070" y="5534"/>
                  <a:pt x="2055" y="5550"/>
                  <a:pt x="2055" y="5570"/>
                </a:cubicBezTo>
                <a:cubicBezTo>
                  <a:pt x="2055" y="5589"/>
                  <a:pt x="2070" y="5605"/>
                  <a:pt x="2090" y="5605"/>
                </a:cubicBezTo>
                <a:cubicBezTo>
                  <a:pt x="2109" y="5605"/>
                  <a:pt x="2125" y="5589"/>
                  <a:pt x="2125" y="5570"/>
                </a:cubicBezTo>
                <a:cubicBezTo>
                  <a:pt x="2125" y="5550"/>
                  <a:pt x="2109" y="5534"/>
                  <a:pt x="2090" y="5534"/>
                </a:cubicBezTo>
                <a:close/>
                <a:moveTo>
                  <a:pt x="1968" y="5714"/>
                </a:moveTo>
                <a:cubicBezTo>
                  <a:pt x="1950" y="5714"/>
                  <a:pt x="1935" y="5729"/>
                  <a:pt x="1935" y="5747"/>
                </a:cubicBezTo>
                <a:cubicBezTo>
                  <a:pt x="1935" y="5765"/>
                  <a:pt x="1950" y="5780"/>
                  <a:pt x="1968" y="5780"/>
                </a:cubicBezTo>
                <a:cubicBezTo>
                  <a:pt x="1986" y="5780"/>
                  <a:pt x="2001" y="5765"/>
                  <a:pt x="2001" y="5747"/>
                </a:cubicBezTo>
                <a:cubicBezTo>
                  <a:pt x="2001" y="5729"/>
                  <a:pt x="1986" y="5714"/>
                  <a:pt x="1968" y="5714"/>
                </a:cubicBezTo>
                <a:close/>
                <a:moveTo>
                  <a:pt x="1837" y="5888"/>
                </a:moveTo>
                <a:cubicBezTo>
                  <a:pt x="1820" y="5888"/>
                  <a:pt x="1807" y="5901"/>
                  <a:pt x="1807" y="5918"/>
                </a:cubicBezTo>
                <a:cubicBezTo>
                  <a:pt x="1807" y="5935"/>
                  <a:pt x="1820" y="5948"/>
                  <a:pt x="1837" y="5948"/>
                </a:cubicBezTo>
                <a:cubicBezTo>
                  <a:pt x="1853" y="5948"/>
                  <a:pt x="1867" y="5935"/>
                  <a:pt x="1867" y="5918"/>
                </a:cubicBezTo>
                <a:cubicBezTo>
                  <a:pt x="1867" y="5901"/>
                  <a:pt x="1853" y="5888"/>
                  <a:pt x="1837" y="5888"/>
                </a:cubicBezTo>
                <a:close/>
                <a:moveTo>
                  <a:pt x="1697" y="6057"/>
                </a:moveTo>
                <a:cubicBezTo>
                  <a:pt x="1683" y="6057"/>
                  <a:pt x="1672" y="6068"/>
                  <a:pt x="1672" y="6082"/>
                </a:cubicBezTo>
                <a:cubicBezTo>
                  <a:pt x="1672" y="6096"/>
                  <a:pt x="1683" y="6107"/>
                  <a:pt x="1697" y="6107"/>
                </a:cubicBezTo>
                <a:cubicBezTo>
                  <a:pt x="1711" y="6107"/>
                  <a:pt x="1722" y="6096"/>
                  <a:pt x="1722" y="6082"/>
                </a:cubicBezTo>
                <a:cubicBezTo>
                  <a:pt x="1722" y="6068"/>
                  <a:pt x="1711" y="6057"/>
                  <a:pt x="1697" y="6057"/>
                </a:cubicBezTo>
                <a:close/>
                <a:moveTo>
                  <a:pt x="1549" y="6217"/>
                </a:moveTo>
                <a:cubicBezTo>
                  <a:pt x="1537" y="6217"/>
                  <a:pt x="1527" y="6226"/>
                  <a:pt x="1527" y="6238"/>
                </a:cubicBezTo>
                <a:cubicBezTo>
                  <a:pt x="1527" y="6250"/>
                  <a:pt x="1537" y="6259"/>
                  <a:pt x="1549" y="6259"/>
                </a:cubicBezTo>
                <a:cubicBezTo>
                  <a:pt x="1560" y="6259"/>
                  <a:pt x="1570" y="6250"/>
                  <a:pt x="1570" y="6238"/>
                </a:cubicBezTo>
                <a:cubicBezTo>
                  <a:pt x="1570" y="6226"/>
                  <a:pt x="1560" y="6217"/>
                  <a:pt x="1549" y="6217"/>
                </a:cubicBezTo>
                <a:close/>
                <a:moveTo>
                  <a:pt x="1392" y="6368"/>
                </a:moveTo>
                <a:cubicBezTo>
                  <a:pt x="1382" y="6368"/>
                  <a:pt x="1374" y="6376"/>
                  <a:pt x="1374" y="6386"/>
                </a:cubicBezTo>
                <a:cubicBezTo>
                  <a:pt x="1374" y="6396"/>
                  <a:pt x="1382" y="6404"/>
                  <a:pt x="1392" y="6404"/>
                </a:cubicBezTo>
                <a:cubicBezTo>
                  <a:pt x="1402" y="6404"/>
                  <a:pt x="1411" y="6396"/>
                  <a:pt x="1411" y="6386"/>
                </a:cubicBezTo>
                <a:cubicBezTo>
                  <a:pt x="1411" y="6376"/>
                  <a:pt x="1402" y="6368"/>
                  <a:pt x="1392" y="6368"/>
                </a:cubicBezTo>
                <a:close/>
                <a:moveTo>
                  <a:pt x="1229" y="6510"/>
                </a:moveTo>
                <a:cubicBezTo>
                  <a:pt x="1220" y="6510"/>
                  <a:pt x="1213" y="6517"/>
                  <a:pt x="1213" y="6526"/>
                </a:cubicBezTo>
                <a:cubicBezTo>
                  <a:pt x="1213" y="6535"/>
                  <a:pt x="1220" y="6542"/>
                  <a:pt x="1229" y="6542"/>
                </a:cubicBezTo>
                <a:cubicBezTo>
                  <a:pt x="1237" y="6542"/>
                  <a:pt x="1245" y="6535"/>
                  <a:pt x="1245" y="6526"/>
                </a:cubicBezTo>
                <a:cubicBezTo>
                  <a:pt x="1245" y="6517"/>
                  <a:pt x="1237" y="6510"/>
                  <a:pt x="1229" y="6510"/>
                </a:cubicBezTo>
                <a:close/>
                <a:moveTo>
                  <a:pt x="1058" y="6646"/>
                </a:moveTo>
                <a:cubicBezTo>
                  <a:pt x="1052" y="6646"/>
                  <a:pt x="1047" y="6651"/>
                  <a:pt x="1047" y="6657"/>
                </a:cubicBezTo>
                <a:cubicBezTo>
                  <a:pt x="1047" y="6663"/>
                  <a:pt x="1052" y="6668"/>
                  <a:pt x="1058" y="6668"/>
                </a:cubicBezTo>
                <a:cubicBezTo>
                  <a:pt x="1064" y="6668"/>
                  <a:pt x="1069" y="6663"/>
                  <a:pt x="1069" y="6657"/>
                </a:cubicBezTo>
                <a:cubicBezTo>
                  <a:pt x="1069" y="6651"/>
                  <a:pt x="1064" y="6646"/>
                  <a:pt x="1058" y="6646"/>
                </a:cubicBezTo>
                <a:close/>
                <a:moveTo>
                  <a:pt x="880" y="6772"/>
                </a:moveTo>
                <a:cubicBezTo>
                  <a:pt x="876" y="6772"/>
                  <a:pt x="873" y="6775"/>
                  <a:pt x="873" y="6779"/>
                </a:cubicBezTo>
                <a:cubicBezTo>
                  <a:pt x="873" y="6783"/>
                  <a:pt x="876" y="6787"/>
                  <a:pt x="880" y="6787"/>
                </a:cubicBezTo>
                <a:cubicBezTo>
                  <a:pt x="884" y="6787"/>
                  <a:pt x="888" y="6783"/>
                  <a:pt x="888" y="6779"/>
                </a:cubicBezTo>
                <a:cubicBezTo>
                  <a:pt x="888" y="6775"/>
                  <a:pt x="884" y="6772"/>
                  <a:pt x="880" y="6772"/>
                </a:cubicBezTo>
                <a:close/>
                <a:moveTo>
                  <a:pt x="697" y="6887"/>
                </a:moveTo>
                <a:cubicBezTo>
                  <a:pt x="694" y="6887"/>
                  <a:pt x="692" y="6889"/>
                  <a:pt x="692" y="6892"/>
                </a:cubicBezTo>
                <a:cubicBezTo>
                  <a:pt x="692" y="6894"/>
                  <a:pt x="694" y="6896"/>
                  <a:pt x="697" y="6896"/>
                </a:cubicBezTo>
                <a:cubicBezTo>
                  <a:pt x="699" y="6896"/>
                  <a:pt x="701" y="6894"/>
                  <a:pt x="701" y="6892"/>
                </a:cubicBezTo>
                <a:cubicBezTo>
                  <a:pt x="701" y="6889"/>
                  <a:pt x="699" y="6887"/>
                  <a:pt x="697" y="6887"/>
                </a:cubicBezTo>
                <a:close/>
                <a:moveTo>
                  <a:pt x="1058" y="1"/>
                </a:moveTo>
                <a:cubicBezTo>
                  <a:pt x="1058" y="1"/>
                  <a:pt x="1058" y="0"/>
                  <a:pt x="1058" y="0"/>
                </a:cubicBezTo>
                <a:cubicBezTo>
                  <a:pt x="1058" y="0"/>
                  <a:pt x="1058" y="0"/>
                  <a:pt x="1058" y="0"/>
                </a:cubicBezTo>
                <a:cubicBezTo>
                  <a:pt x="1057" y="0"/>
                  <a:pt x="1057" y="0"/>
                  <a:pt x="1057" y="0"/>
                </a:cubicBezTo>
                <a:cubicBezTo>
                  <a:pt x="1057" y="0"/>
                  <a:pt x="1057" y="1"/>
                  <a:pt x="1058" y="1"/>
                </a:cubicBezTo>
                <a:close/>
                <a:moveTo>
                  <a:pt x="1229" y="132"/>
                </a:moveTo>
                <a:cubicBezTo>
                  <a:pt x="1229" y="132"/>
                  <a:pt x="1229" y="132"/>
                  <a:pt x="1229" y="131"/>
                </a:cubicBezTo>
                <a:cubicBezTo>
                  <a:pt x="1229" y="131"/>
                  <a:pt x="1229" y="131"/>
                  <a:pt x="1229" y="131"/>
                </a:cubicBezTo>
                <a:cubicBezTo>
                  <a:pt x="1228" y="131"/>
                  <a:pt x="1228" y="131"/>
                  <a:pt x="1228" y="131"/>
                </a:cubicBezTo>
                <a:cubicBezTo>
                  <a:pt x="1228" y="132"/>
                  <a:pt x="1228" y="132"/>
                  <a:pt x="1229" y="132"/>
                </a:cubicBezTo>
                <a:close/>
                <a:moveTo>
                  <a:pt x="1392" y="272"/>
                </a:moveTo>
                <a:cubicBezTo>
                  <a:pt x="1393" y="272"/>
                  <a:pt x="1394" y="272"/>
                  <a:pt x="1394" y="271"/>
                </a:cubicBezTo>
                <a:cubicBezTo>
                  <a:pt x="1394" y="271"/>
                  <a:pt x="1393" y="270"/>
                  <a:pt x="1392" y="270"/>
                </a:cubicBezTo>
                <a:cubicBezTo>
                  <a:pt x="1392" y="270"/>
                  <a:pt x="1391" y="271"/>
                  <a:pt x="1391" y="271"/>
                </a:cubicBezTo>
                <a:cubicBezTo>
                  <a:pt x="1391" y="272"/>
                  <a:pt x="1392" y="272"/>
                  <a:pt x="1392" y="272"/>
                </a:cubicBezTo>
                <a:close/>
                <a:moveTo>
                  <a:pt x="1549" y="421"/>
                </a:moveTo>
                <a:cubicBezTo>
                  <a:pt x="1549" y="421"/>
                  <a:pt x="1550" y="420"/>
                  <a:pt x="1550" y="419"/>
                </a:cubicBezTo>
                <a:cubicBezTo>
                  <a:pt x="1550" y="419"/>
                  <a:pt x="1549" y="418"/>
                  <a:pt x="1549" y="418"/>
                </a:cubicBezTo>
                <a:cubicBezTo>
                  <a:pt x="1548" y="418"/>
                  <a:pt x="1547" y="419"/>
                  <a:pt x="1547" y="419"/>
                </a:cubicBezTo>
                <a:cubicBezTo>
                  <a:pt x="1547" y="420"/>
                  <a:pt x="1548" y="421"/>
                  <a:pt x="1549" y="421"/>
                </a:cubicBezTo>
                <a:close/>
                <a:moveTo>
                  <a:pt x="1697" y="577"/>
                </a:moveTo>
                <a:cubicBezTo>
                  <a:pt x="1698" y="577"/>
                  <a:pt x="1698" y="576"/>
                  <a:pt x="1698" y="576"/>
                </a:cubicBezTo>
                <a:cubicBezTo>
                  <a:pt x="1698" y="575"/>
                  <a:pt x="1698" y="575"/>
                  <a:pt x="1697" y="575"/>
                </a:cubicBezTo>
                <a:cubicBezTo>
                  <a:pt x="1696" y="575"/>
                  <a:pt x="1696" y="575"/>
                  <a:pt x="1696" y="576"/>
                </a:cubicBezTo>
                <a:cubicBezTo>
                  <a:pt x="1696" y="576"/>
                  <a:pt x="1696" y="577"/>
                  <a:pt x="1697" y="577"/>
                </a:cubicBezTo>
                <a:close/>
                <a:moveTo>
                  <a:pt x="1837" y="741"/>
                </a:moveTo>
                <a:cubicBezTo>
                  <a:pt x="1838" y="741"/>
                  <a:pt x="1838" y="740"/>
                  <a:pt x="1838" y="740"/>
                </a:cubicBezTo>
                <a:cubicBezTo>
                  <a:pt x="1838" y="739"/>
                  <a:pt x="1838" y="738"/>
                  <a:pt x="1837" y="738"/>
                </a:cubicBezTo>
                <a:cubicBezTo>
                  <a:pt x="1836" y="738"/>
                  <a:pt x="1835" y="739"/>
                  <a:pt x="1835" y="740"/>
                </a:cubicBezTo>
                <a:cubicBezTo>
                  <a:pt x="1835" y="740"/>
                  <a:pt x="1836" y="741"/>
                  <a:pt x="1837" y="741"/>
                </a:cubicBezTo>
                <a:close/>
                <a:moveTo>
                  <a:pt x="1968" y="912"/>
                </a:moveTo>
                <a:cubicBezTo>
                  <a:pt x="1969" y="912"/>
                  <a:pt x="1970" y="911"/>
                  <a:pt x="1970" y="910"/>
                </a:cubicBezTo>
                <a:cubicBezTo>
                  <a:pt x="1970" y="909"/>
                  <a:pt x="1969" y="909"/>
                  <a:pt x="1968" y="909"/>
                </a:cubicBezTo>
                <a:cubicBezTo>
                  <a:pt x="1967" y="909"/>
                  <a:pt x="1966" y="909"/>
                  <a:pt x="1966" y="910"/>
                </a:cubicBezTo>
                <a:cubicBezTo>
                  <a:pt x="1966" y="911"/>
                  <a:pt x="1967" y="912"/>
                  <a:pt x="1968" y="912"/>
                </a:cubicBezTo>
                <a:close/>
                <a:moveTo>
                  <a:pt x="2090" y="1090"/>
                </a:moveTo>
                <a:cubicBezTo>
                  <a:pt x="2091" y="1090"/>
                  <a:pt x="2092" y="1089"/>
                  <a:pt x="2092" y="1088"/>
                </a:cubicBezTo>
                <a:cubicBezTo>
                  <a:pt x="2092" y="1087"/>
                  <a:pt x="2091" y="1086"/>
                  <a:pt x="2090" y="1086"/>
                </a:cubicBezTo>
                <a:cubicBezTo>
                  <a:pt x="2089" y="1086"/>
                  <a:pt x="2088" y="1087"/>
                  <a:pt x="2088" y="1088"/>
                </a:cubicBezTo>
                <a:cubicBezTo>
                  <a:pt x="2088" y="1089"/>
                  <a:pt x="2089" y="1090"/>
                  <a:pt x="2090" y="1090"/>
                </a:cubicBezTo>
                <a:close/>
                <a:moveTo>
                  <a:pt x="2202" y="1275"/>
                </a:moveTo>
                <a:cubicBezTo>
                  <a:pt x="2204" y="1275"/>
                  <a:pt x="2206" y="1273"/>
                  <a:pt x="2206" y="1272"/>
                </a:cubicBezTo>
                <a:cubicBezTo>
                  <a:pt x="2206" y="1270"/>
                  <a:pt x="2204" y="1268"/>
                  <a:pt x="2202" y="1268"/>
                </a:cubicBezTo>
                <a:cubicBezTo>
                  <a:pt x="2201" y="1268"/>
                  <a:pt x="2199" y="1270"/>
                  <a:pt x="2199" y="1272"/>
                </a:cubicBezTo>
                <a:cubicBezTo>
                  <a:pt x="2199" y="1273"/>
                  <a:pt x="2201" y="1275"/>
                  <a:pt x="2202" y="1275"/>
                </a:cubicBezTo>
                <a:close/>
                <a:moveTo>
                  <a:pt x="2305" y="1466"/>
                </a:moveTo>
                <a:cubicBezTo>
                  <a:pt x="2308" y="1466"/>
                  <a:pt x="2310" y="1464"/>
                  <a:pt x="2310" y="1461"/>
                </a:cubicBezTo>
                <a:cubicBezTo>
                  <a:pt x="2310" y="1458"/>
                  <a:pt x="2308" y="1456"/>
                  <a:pt x="2305" y="1456"/>
                </a:cubicBezTo>
                <a:cubicBezTo>
                  <a:pt x="2302" y="1456"/>
                  <a:pt x="2300" y="1458"/>
                  <a:pt x="2300" y="1461"/>
                </a:cubicBezTo>
                <a:cubicBezTo>
                  <a:pt x="2300" y="1464"/>
                  <a:pt x="2302" y="1466"/>
                  <a:pt x="2305" y="1466"/>
                </a:cubicBezTo>
                <a:close/>
                <a:moveTo>
                  <a:pt x="2398" y="1663"/>
                </a:moveTo>
                <a:cubicBezTo>
                  <a:pt x="2402" y="1663"/>
                  <a:pt x="2406" y="1660"/>
                  <a:pt x="2406" y="1655"/>
                </a:cubicBezTo>
                <a:cubicBezTo>
                  <a:pt x="2406" y="1651"/>
                  <a:pt x="2402" y="1647"/>
                  <a:pt x="2398" y="1647"/>
                </a:cubicBezTo>
                <a:cubicBezTo>
                  <a:pt x="2394" y="1647"/>
                  <a:pt x="2390" y="1651"/>
                  <a:pt x="2390" y="1655"/>
                </a:cubicBezTo>
                <a:cubicBezTo>
                  <a:pt x="2390" y="1660"/>
                  <a:pt x="2394" y="1663"/>
                  <a:pt x="2398" y="1663"/>
                </a:cubicBezTo>
                <a:close/>
                <a:moveTo>
                  <a:pt x="2480" y="1866"/>
                </a:moveTo>
                <a:cubicBezTo>
                  <a:pt x="2487" y="1866"/>
                  <a:pt x="2492" y="1861"/>
                  <a:pt x="2492" y="1854"/>
                </a:cubicBezTo>
                <a:cubicBezTo>
                  <a:pt x="2492" y="1848"/>
                  <a:pt x="2487" y="1843"/>
                  <a:pt x="2480" y="1843"/>
                </a:cubicBezTo>
                <a:cubicBezTo>
                  <a:pt x="2474" y="1843"/>
                  <a:pt x="2469" y="1848"/>
                  <a:pt x="2469" y="1854"/>
                </a:cubicBezTo>
                <a:cubicBezTo>
                  <a:pt x="2469" y="1861"/>
                  <a:pt x="2474" y="1866"/>
                  <a:pt x="2480" y="1866"/>
                </a:cubicBezTo>
                <a:close/>
                <a:moveTo>
                  <a:pt x="2552" y="2072"/>
                </a:moveTo>
                <a:cubicBezTo>
                  <a:pt x="2560" y="2072"/>
                  <a:pt x="2567" y="2066"/>
                  <a:pt x="2567" y="2057"/>
                </a:cubicBezTo>
                <a:cubicBezTo>
                  <a:pt x="2567" y="2049"/>
                  <a:pt x="2560" y="2042"/>
                  <a:pt x="2552" y="2042"/>
                </a:cubicBezTo>
                <a:cubicBezTo>
                  <a:pt x="2544" y="2042"/>
                  <a:pt x="2537" y="2049"/>
                  <a:pt x="2537" y="2057"/>
                </a:cubicBezTo>
                <a:cubicBezTo>
                  <a:pt x="2537" y="2066"/>
                  <a:pt x="2544" y="2072"/>
                  <a:pt x="2552" y="2072"/>
                </a:cubicBezTo>
                <a:close/>
                <a:moveTo>
                  <a:pt x="2613" y="2283"/>
                </a:moveTo>
                <a:cubicBezTo>
                  <a:pt x="2624" y="2283"/>
                  <a:pt x="2632" y="2274"/>
                  <a:pt x="2632" y="2264"/>
                </a:cubicBezTo>
                <a:cubicBezTo>
                  <a:pt x="2632" y="2253"/>
                  <a:pt x="2624" y="2245"/>
                  <a:pt x="2613" y="2245"/>
                </a:cubicBezTo>
                <a:cubicBezTo>
                  <a:pt x="2603" y="2245"/>
                  <a:pt x="2595" y="2253"/>
                  <a:pt x="2595" y="2264"/>
                </a:cubicBezTo>
                <a:cubicBezTo>
                  <a:pt x="2595" y="2274"/>
                  <a:pt x="2603" y="2283"/>
                  <a:pt x="2613" y="2283"/>
                </a:cubicBezTo>
                <a:close/>
                <a:moveTo>
                  <a:pt x="2664" y="2494"/>
                </a:moveTo>
                <a:cubicBezTo>
                  <a:pt x="2675" y="2494"/>
                  <a:pt x="2684" y="2485"/>
                  <a:pt x="2684" y="2473"/>
                </a:cubicBezTo>
                <a:cubicBezTo>
                  <a:pt x="2684" y="2462"/>
                  <a:pt x="2675" y="2453"/>
                  <a:pt x="2664" y="2453"/>
                </a:cubicBezTo>
                <a:cubicBezTo>
                  <a:pt x="2652" y="2453"/>
                  <a:pt x="2643" y="2462"/>
                  <a:pt x="2643" y="2473"/>
                </a:cubicBezTo>
                <a:cubicBezTo>
                  <a:pt x="2643" y="2485"/>
                  <a:pt x="2652" y="2494"/>
                  <a:pt x="2664" y="2494"/>
                </a:cubicBezTo>
                <a:close/>
                <a:moveTo>
                  <a:pt x="2703" y="2708"/>
                </a:moveTo>
                <a:cubicBezTo>
                  <a:pt x="2716" y="2708"/>
                  <a:pt x="2726" y="2698"/>
                  <a:pt x="2726" y="2685"/>
                </a:cubicBezTo>
                <a:cubicBezTo>
                  <a:pt x="2726" y="2672"/>
                  <a:pt x="2716" y="2662"/>
                  <a:pt x="2703" y="2662"/>
                </a:cubicBezTo>
                <a:cubicBezTo>
                  <a:pt x="2690" y="2662"/>
                  <a:pt x="2680" y="2672"/>
                  <a:pt x="2680" y="2685"/>
                </a:cubicBezTo>
                <a:cubicBezTo>
                  <a:pt x="2680" y="2698"/>
                  <a:pt x="2690" y="2708"/>
                  <a:pt x="2703" y="2708"/>
                </a:cubicBezTo>
                <a:close/>
                <a:moveTo>
                  <a:pt x="2708" y="2899"/>
                </a:moveTo>
                <a:cubicBezTo>
                  <a:pt x="2708" y="2911"/>
                  <a:pt x="2719" y="2921"/>
                  <a:pt x="2731" y="2921"/>
                </a:cubicBezTo>
                <a:cubicBezTo>
                  <a:pt x="2744" y="2921"/>
                  <a:pt x="2754" y="2911"/>
                  <a:pt x="2754" y="2899"/>
                </a:cubicBezTo>
                <a:cubicBezTo>
                  <a:pt x="2754" y="2886"/>
                  <a:pt x="2744" y="2876"/>
                  <a:pt x="2731" y="2876"/>
                </a:cubicBezTo>
                <a:cubicBezTo>
                  <a:pt x="2719" y="2876"/>
                  <a:pt x="2708" y="2886"/>
                  <a:pt x="2708" y="2899"/>
                </a:cubicBezTo>
                <a:close/>
                <a:moveTo>
                  <a:pt x="2719" y="3113"/>
                </a:moveTo>
                <a:cubicBezTo>
                  <a:pt x="2719" y="3129"/>
                  <a:pt x="2732" y="3142"/>
                  <a:pt x="2748" y="3142"/>
                </a:cubicBezTo>
                <a:cubicBezTo>
                  <a:pt x="2764" y="3142"/>
                  <a:pt x="2777" y="3129"/>
                  <a:pt x="2777" y="3113"/>
                </a:cubicBezTo>
                <a:cubicBezTo>
                  <a:pt x="2777" y="3098"/>
                  <a:pt x="2764" y="3085"/>
                  <a:pt x="2748" y="3085"/>
                </a:cubicBezTo>
                <a:cubicBezTo>
                  <a:pt x="2732" y="3085"/>
                  <a:pt x="2719" y="3098"/>
                  <a:pt x="2719" y="3113"/>
                </a:cubicBezTo>
                <a:close/>
              </a:path>
            </a:pathLst>
          </a:custGeom>
          <a:gradFill>
            <a:gsLst>
              <a:gs pos="0">
                <a:srgbClr val="00AB7A">
                  <a:alpha val="24000"/>
                </a:srgbClr>
              </a:gs>
              <a:gs pos="100000">
                <a:srgbClr val="00AB7A">
                  <a:alpha val="0"/>
                </a:srgbClr>
              </a:gs>
            </a:gsLst>
            <a:lin ang="1620000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pPr lvl="0"/>
            <a:endParaRPr lang="zh-CN" altLang="en-US" sz="2400"/>
          </a:p>
        </p:txBody>
      </p:sp>
      <p:sp>
        <p:nvSpPr>
          <p:cNvPr id="3" name="Freeform 156"/>
          <p:cNvSpPr>
            <a:spLocks noEditPoints="1"/>
          </p:cNvSpPr>
          <p:nvPr userDrawn="1"/>
        </p:nvSpPr>
        <p:spPr bwMode="auto">
          <a:xfrm rot="20140498">
            <a:off x="6611166" y="-3173431"/>
            <a:ext cx="4209796" cy="10420539"/>
          </a:xfrm>
          <a:custGeom>
            <a:avLst/>
            <a:gdLst>
              <a:gd name="T0" fmla="*/ 2110 w 2784"/>
              <a:gd name="T1" fmla="*/ 3712 h 6896"/>
              <a:gd name="T2" fmla="*/ 2031 w 2784"/>
              <a:gd name="T3" fmla="*/ 4146 h 6896"/>
              <a:gd name="T4" fmla="*/ 1833 w 2784"/>
              <a:gd name="T5" fmla="*/ 4790 h 6896"/>
              <a:gd name="T6" fmla="*/ 1608 w 2784"/>
              <a:gd name="T7" fmla="*/ 5170 h 6896"/>
              <a:gd name="T8" fmla="*/ 1364 w 2784"/>
              <a:gd name="T9" fmla="*/ 5519 h 6896"/>
              <a:gd name="T10" fmla="*/ 0 w 2784"/>
              <a:gd name="T11" fmla="*/ 108 h 6896"/>
              <a:gd name="T12" fmla="*/ 394 w 2784"/>
              <a:gd name="T13" fmla="*/ 300 h 6896"/>
              <a:gd name="T14" fmla="*/ 915 w 2784"/>
              <a:gd name="T15" fmla="*/ 649 h 6896"/>
              <a:gd name="T16" fmla="*/ 1224 w 2784"/>
              <a:gd name="T17" fmla="*/ 1007 h 6896"/>
              <a:gd name="T18" fmla="*/ 1494 w 2784"/>
              <a:gd name="T19" fmla="*/ 1267 h 6896"/>
              <a:gd name="T20" fmla="*/ 1816 w 2784"/>
              <a:gd name="T21" fmla="*/ 1808 h 6896"/>
              <a:gd name="T22" fmla="*/ 2038 w 2784"/>
              <a:gd name="T23" fmla="*/ 2269 h 6896"/>
              <a:gd name="T24" fmla="*/ 2110 w 2784"/>
              <a:gd name="T25" fmla="*/ 2836 h 6896"/>
              <a:gd name="T26" fmla="*/ 2342 w 2784"/>
              <a:gd name="T27" fmla="*/ 3394 h 6896"/>
              <a:gd name="T28" fmla="*/ 2378 w 2784"/>
              <a:gd name="T29" fmla="*/ 3759 h 6896"/>
              <a:gd name="T30" fmla="*/ 2187 w 2784"/>
              <a:gd name="T31" fmla="*/ 4342 h 6896"/>
              <a:gd name="T32" fmla="*/ 2000 w 2784"/>
              <a:gd name="T33" fmla="*/ 4795 h 6896"/>
              <a:gd name="T34" fmla="*/ 1733 w 2784"/>
              <a:gd name="T35" fmla="*/ 5385 h 6896"/>
              <a:gd name="T36" fmla="*/ 1476 w 2784"/>
              <a:gd name="T37" fmla="*/ 5718 h 6896"/>
              <a:gd name="T38" fmla="*/ 1180 w 2784"/>
              <a:gd name="T39" fmla="*/ 6020 h 6896"/>
              <a:gd name="T40" fmla="*/ 489 w 2784"/>
              <a:gd name="T41" fmla="*/ 122 h 6896"/>
              <a:gd name="T42" fmla="*/ 854 w 2784"/>
              <a:gd name="T43" fmla="*/ 359 h 6896"/>
              <a:gd name="T44" fmla="*/ 1346 w 2784"/>
              <a:gd name="T45" fmla="*/ 788 h 6896"/>
              <a:gd name="T46" fmla="*/ 1610 w 2784"/>
              <a:gd name="T47" fmla="*/ 1091 h 6896"/>
              <a:gd name="T48" fmla="*/ 1846 w 2784"/>
              <a:gd name="T49" fmla="*/ 1512 h 6896"/>
              <a:gd name="T50" fmla="*/ 2119 w 2784"/>
              <a:gd name="T51" fmla="*/ 2109 h 6896"/>
              <a:gd name="T52" fmla="*/ 2301 w 2784"/>
              <a:gd name="T53" fmla="*/ 2475 h 6896"/>
              <a:gd name="T54" fmla="*/ 2336 w 2784"/>
              <a:gd name="T55" fmla="*/ 3047 h 6896"/>
              <a:gd name="T56" fmla="*/ 2542 w 2784"/>
              <a:gd name="T57" fmla="*/ 3609 h 6896"/>
              <a:gd name="T58" fmla="*/ 2561 w 2784"/>
              <a:gd name="T59" fmla="*/ 3972 h 6896"/>
              <a:gd name="T60" fmla="*/ 2395 w 2784"/>
              <a:gd name="T61" fmla="*/ 4598 h 6896"/>
              <a:gd name="T62" fmla="*/ 2174 w 2784"/>
              <a:gd name="T63" fmla="*/ 5049 h 6896"/>
              <a:gd name="T64" fmla="*/ 1851 w 2784"/>
              <a:gd name="T65" fmla="*/ 5518 h 6896"/>
              <a:gd name="T66" fmla="*/ 1587 w 2784"/>
              <a:gd name="T67" fmla="*/ 5923 h 6896"/>
              <a:gd name="T68" fmla="*/ 1287 w 2784"/>
              <a:gd name="T69" fmla="*/ 6189 h 6896"/>
              <a:gd name="T70" fmla="*/ 774 w 2784"/>
              <a:gd name="T71" fmla="*/ 6601 h 6896"/>
              <a:gd name="T72" fmla="*/ 952 w 2784"/>
              <a:gd name="T73" fmla="*/ 179 h 6896"/>
              <a:gd name="T74" fmla="*/ 1441 w 2784"/>
              <a:gd name="T75" fmla="*/ 606 h 6896"/>
              <a:gd name="T76" fmla="*/ 1724 w 2784"/>
              <a:gd name="T77" fmla="*/ 922 h 6896"/>
              <a:gd name="T78" fmla="*/ 1969 w 2784"/>
              <a:gd name="T79" fmla="*/ 1297 h 6896"/>
              <a:gd name="T80" fmla="*/ 2293 w 2784"/>
              <a:gd name="T81" fmla="*/ 1858 h 6896"/>
              <a:gd name="T82" fmla="*/ 2363 w 2784"/>
              <a:gd name="T83" fmla="*/ 2265 h 6896"/>
              <a:gd name="T84" fmla="*/ 2524 w 2784"/>
              <a:gd name="T85" fmla="*/ 2847 h 6896"/>
              <a:gd name="T86" fmla="*/ 2754 w 2784"/>
              <a:gd name="T87" fmla="*/ 3360 h 6896"/>
              <a:gd name="T88" fmla="*/ 2731 w 2784"/>
              <a:gd name="T89" fmla="*/ 3722 h 6896"/>
              <a:gd name="T90" fmla="*/ 2571 w 2784"/>
              <a:gd name="T91" fmla="*/ 4394 h 6896"/>
              <a:gd name="T92" fmla="*/ 2522 w 2784"/>
              <a:gd name="T93" fmla="*/ 4803 h 6896"/>
              <a:gd name="T94" fmla="*/ 2202 w 2784"/>
              <a:gd name="T95" fmla="*/ 5348 h 6896"/>
              <a:gd name="T96" fmla="*/ 1968 w 2784"/>
              <a:gd name="T97" fmla="*/ 5780 h 6896"/>
              <a:gd name="T98" fmla="*/ 1697 w 2784"/>
              <a:gd name="T99" fmla="*/ 6057 h 6896"/>
              <a:gd name="T100" fmla="*/ 1213 w 2784"/>
              <a:gd name="T101" fmla="*/ 6526 h 6896"/>
              <a:gd name="T102" fmla="*/ 888 w 2784"/>
              <a:gd name="T103" fmla="*/ 6779 h 6896"/>
              <a:gd name="T104" fmla="*/ 1229 w 2784"/>
              <a:gd name="T105" fmla="*/ 132 h 6896"/>
              <a:gd name="T106" fmla="*/ 1549 w 2784"/>
              <a:gd name="T107" fmla="*/ 418 h 6896"/>
              <a:gd name="T108" fmla="*/ 1837 w 2784"/>
              <a:gd name="T109" fmla="*/ 741 h 6896"/>
              <a:gd name="T110" fmla="*/ 2206 w 2784"/>
              <a:gd name="T111" fmla="*/ 1272 h 6896"/>
              <a:gd name="T112" fmla="*/ 2390 w 2784"/>
              <a:gd name="T113" fmla="*/ 1655 h 6896"/>
              <a:gd name="T114" fmla="*/ 2613 w 2784"/>
              <a:gd name="T115" fmla="*/ 2283 h 6896"/>
              <a:gd name="T116" fmla="*/ 2703 w 2784"/>
              <a:gd name="T117" fmla="*/ 2662 h 6896"/>
              <a:gd name="T118" fmla="*/ 2719 w 2784"/>
              <a:gd name="T119" fmla="*/ 3113 h 6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784" h="6896">
                <a:moveTo>
                  <a:pt x="2137" y="3273"/>
                </a:moveTo>
                <a:cubicBezTo>
                  <a:pt x="2106" y="3273"/>
                  <a:pt x="2081" y="3298"/>
                  <a:pt x="2081" y="3329"/>
                </a:cubicBezTo>
                <a:cubicBezTo>
                  <a:pt x="2081" y="3360"/>
                  <a:pt x="2106" y="3385"/>
                  <a:pt x="2137" y="3385"/>
                </a:cubicBezTo>
                <a:cubicBezTo>
                  <a:pt x="2167" y="3385"/>
                  <a:pt x="2192" y="3360"/>
                  <a:pt x="2192" y="3329"/>
                </a:cubicBezTo>
                <a:cubicBezTo>
                  <a:pt x="2192" y="3298"/>
                  <a:pt x="2167" y="3273"/>
                  <a:pt x="2137" y="3273"/>
                </a:cubicBezTo>
                <a:close/>
                <a:moveTo>
                  <a:pt x="2181" y="3544"/>
                </a:moveTo>
                <a:cubicBezTo>
                  <a:pt x="2181" y="3516"/>
                  <a:pt x="2158" y="3493"/>
                  <a:pt x="2130" y="3493"/>
                </a:cubicBezTo>
                <a:cubicBezTo>
                  <a:pt x="2102" y="3493"/>
                  <a:pt x="2079" y="3516"/>
                  <a:pt x="2079" y="3544"/>
                </a:cubicBezTo>
                <a:cubicBezTo>
                  <a:pt x="2079" y="3572"/>
                  <a:pt x="2102" y="3595"/>
                  <a:pt x="2130" y="3595"/>
                </a:cubicBezTo>
                <a:cubicBezTo>
                  <a:pt x="2158" y="3595"/>
                  <a:pt x="2181" y="3572"/>
                  <a:pt x="2181" y="3544"/>
                </a:cubicBezTo>
                <a:close/>
                <a:moveTo>
                  <a:pt x="2157" y="3758"/>
                </a:moveTo>
                <a:cubicBezTo>
                  <a:pt x="2157" y="3733"/>
                  <a:pt x="2136" y="3712"/>
                  <a:pt x="2110" y="3712"/>
                </a:cubicBezTo>
                <a:cubicBezTo>
                  <a:pt x="2084" y="3712"/>
                  <a:pt x="2063" y="3733"/>
                  <a:pt x="2063" y="3758"/>
                </a:cubicBezTo>
                <a:cubicBezTo>
                  <a:pt x="2063" y="3784"/>
                  <a:pt x="2084" y="3805"/>
                  <a:pt x="2110" y="3805"/>
                </a:cubicBezTo>
                <a:cubicBezTo>
                  <a:pt x="2136" y="3805"/>
                  <a:pt x="2157" y="3784"/>
                  <a:pt x="2157" y="3758"/>
                </a:cubicBezTo>
                <a:close/>
                <a:moveTo>
                  <a:pt x="2118" y="3971"/>
                </a:moveTo>
                <a:cubicBezTo>
                  <a:pt x="2118" y="3949"/>
                  <a:pt x="2100" y="3930"/>
                  <a:pt x="2077" y="3930"/>
                </a:cubicBezTo>
                <a:cubicBezTo>
                  <a:pt x="2054" y="3930"/>
                  <a:pt x="2036" y="3949"/>
                  <a:pt x="2036" y="3971"/>
                </a:cubicBezTo>
                <a:cubicBezTo>
                  <a:pt x="2036" y="3994"/>
                  <a:pt x="2054" y="4012"/>
                  <a:pt x="2077" y="4012"/>
                </a:cubicBezTo>
                <a:cubicBezTo>
                  <a:pt x="2100" y="4012"/>
                  <a:pt x="2118" y="3994"/>
                  <a:pt x="2118" y="3971"/>
                </a:cubicBezTo>
                <a:close/>
                <a:moveTo>
                  <a:pt x="1996" y="4182"/>
                </a:moveTo>
                <a:cubicBezTo>
                  <a:pt x="1996" y="4201"/>
                  <a:pt x="2011" y="4217"/>
                  <a:pt x="2031" y="4217"/>
                </a:cubicBezTo>
                <a:cubicBezTo>
                  <a:pt x="2050" y="4217"/>
                  <a:pt x="2066" y="4201"/>
                  <a:pt x="2066" y="4182"/>
                </a:cubicBezTo>
                <a:cubicBezTo>
                  <a:pt x="2066" y="4162"/>
                  <a:pt x="2050" y="4146"/>
                  <a:pt x="2031" y="4146"/>
                </a:cubicBezTo>
                <a:cubicBezTo>
                  <a:pt x="2011" y="4146"/>
                  <a:pt x="1996" y="4162"/>
                  <a:pt x="1996" y="4182"/>
                </a:cubicBezTo>
                <a:close/>
                <a:moveTo>
                  <a:pt x="1972" y="4418"/>
                </a:moveTo>
                <a:cubicBezTo>
                  <a:pt x="1988" y="4418"/>
                  <a:pt x="2001" y="4405"/>
                  <a:pt x="2001" y="4389"/>
                </a:cubicBezTo>
                <a:cubicBezTo>
                  <a:pt x="2001" y="4373"/>
                  <a:pt x="1988" y="4360"/>
                  <a:pt x="1972" y="4360"/>
                </a:cubicBezTo>
                <a:cubicBezTo>
                  <a:pt x="1956" y="4360"/>
                  <a:pt x="1943" y="4373"/>
                  <a:pt x="1943" y="4389"/>
                </a:cubicBezTo>
                <a:cubicBezTo>
                  <a:pt x="1943" y="4405"/>
                  <a:pt x="1956" y="4418"/>
                  <a:pt x="1972" y="4418"/>
                </a:cubicBezTo>
                <a:close/>
                <a:moveTo>
                  <a:pt x="1923" y="4592"/>
                </a:moveTo>
                <a:cubicBezTo>
                  <a:pt x="1923" y="4579"/>
                  <a:pt x="1913" y="4569"/>
                  <a:pt x="1900" y="4569"/>
                </a:cubicBezTo>
                <a:cubicBezTo>
                  <a:pt x="1888" y="4569"/>
                  <a:pt x="1878" y="4579"/>
                  <a:pt x="1878" y="4592"/>
                </a:cubicBezTo>
                <a:cubicBezTo>
                  <a:pt x="1878" y="4605"/>
                  <a:pt x="1888" y="4615"/>
                  <a:pt x="1900" y="4615"/>
                </a:cubicBezTo>
                <a:cubicBezTo>
                  <a:pt x="1913" y="4615"/>
                  <a:pt x="1923" y="4605"/>
                  <a:pt x="1923" y="4592"/>
                </a:cubicBezTo>
                <a:close/>
                <a:moveTo>
                  <a:pt x="1833" y="4790"/>
                </a:moveTo>
                <a:cubicBezTo>
                  <a:pt x="1833" y="4781"/>
                  <a:pt x="1826" y="4774"/>
                  <a:pt x="1816" y="4774"/>
                </a:cubicBezTo>
                <a:cubicBezTo>
                  <a:pt x="1807" y="4774"/>
                  <a:pt x="1800" y="4781"/>
                  <a:pt x="1800" y="4790"/>
                </a:cubicBezTo>
                <a:cubicBezTo>
                  <a:pt x="1800" y="4800"/>
                  <a:pt x="1807" y="4807"/>
                  <a:pt x="1816" y="4807"/>
                </a:cubicBezTo>
                <a:cubicBezTo>
                  <a:pt x="1826" y="4807"/>
                  <a:pt x="1833" y="4800"/>
                  <a:pt x="1833" y="4790"/>
                </a:cubicBezTo>
                <a:close/>
                <a:moveTo>
                  <a:pt x="1730" y="4983"/>
                </a:moveTo>
                <a:cubicBezTo>
                  <a:pt x="1730" y="4978"/>
                  <a:pt x="1726" y="4973"/>
                  <a:pt x="1720" y="4973"/>
                </a:cubicBezTo>
                <a:cubicBezTo>
                  <a:pt x="1715" y="4973"/>
                  <a:pt x="1711" y="4978"/>
                  <a:pt x="1711" y="4983"/>
                </a:cubicBezTo>
                <a:cubicBezTo>
                  <a:pt x="1711" y="4989"/>
                  <a:pt x="1715" y="4993"/>
                  <a:pt x="1720" y="4993"/>
                </a:cubicBezTo>
                <a:cubicBezTo>
                  <a:pt x="1726" y="4993"/>
                  <a:pt x="1730" y="4989"/>
                  <a:pt x="1730" y="4983"/>
                </a:cubicBezTo>
                <a:close/>
                <a:moveTo>
                  <a:pt x="1618" y="5170"/>
                </a:moveTo>
                <a:cubicBezTo>
                  <a:pt x="1618" y="5167"/>
                  <a:pt x="1616" y="5165"/>
                  <a:pt x="1613" y="5165"/>
                </a:cubicBezTo>
                <a:cubicBezTo>
                  <a:pt x="1610" y="5165"/>
                  <a:pt x="1608" y="5167"/>
                  <a:pt x="1608" y="5170"/>
                </a:cubicBezTo>
                <a:cubicBezTo>
                  <a:pt x="1608" y="5173"/>
                  <a:pt x="1610" y="5175"/>
                  <a:pt x="1613" y="5175"/>
                </a:cubicBezTo>
                <a:cubicBezTo>
                  <a:pt x="1616" y="5175"/>
                  <a:pt x="1618" y="5173"/>
                  <a:pt x="1618" y="5170"/>
                </a:cubicBezTo>
                <a:close/>
                <a:moveTo>
                  <a:pt x="1494" y="5346"/>
                </a:moveTo>
                <a:cubicBezTo>
                  <a:pt x="1492" y="5346"/>
                  <a:pt x="1491" y="5348"/>
                  <a:pt x="1491" y="5349"/>
                </a:cubicBezTo>
                <a:cubicBezTo>
                  <a:pt x="1491" y="5351"/>
                  <a:pt x="1492" y="5352"/>
                  <a:pt x="1494" y="5352"/>
                </a:cubicBezTo>
                <a:cubicBezTo>
                  <a:pt x="1495" y="5352"/>
                  <a:pt x="1497" y="5351"/>
                  <a:pt x="1497" y="5349"/>
                </a:cubicBezTo>
                <a:cubicBezTo>
                  <a:pt x="1497" y="5348"/>
                  <a:pt x="1495" y="5346"/>
                  <a:pt x="1494" y="5346"/>
                </a:cubicBezTo>
                <a:close/>
                <a:moveTo>
                  <a:pt x="1364" y="5519"/>
                </a:moveTo>
                <a:cubicBezTo>
                  <a:pt x="1363" y="5519"/>
                  <a:pt x="1362" y="5520"/>
                  <a:pt x="1362" y="5521"/>
                </a:cubicBezTo>
                <a:cubicBezTo>
                  <a:pt x="1362" y="5522"/>
                  <a:pt x="1363" y="5523"/>
                  <a:pt x="1364" y="5523"/>
                </a:cubicBezTo>
                <a:cubicBezTo>
                  <a:pt x="1365" y="5523"/>
                  <a:pt x="1366" y="5522"/>
                  <a:pt x="1366" y="5521"/>
                </a:cubicBezTo>
                <a:cubicBezTo>
                  <a:pt x="1366" y="5520"/>
                  <a:pt x="1365" y="5519"/>
                  <a:pt x="1364" y="5519"/>
                </a:cubicBezTo>
                <a:close/>
                <a:moveTo>
                  <a:pt x="1225" y="5685"/>
                </a:moveTo>
                <a:cubicBezTo>
                  <a:pt x="1225" y="5684"/>
                  <a:pt x="1225" y="5683"/>
                  <a:pt x="1224" y="5683"/>
                </a:cubicBezTo>
                <a:cubicBezTo>
                  <a:pt x="1223" y="5683"/>
                  <a:pt x="1222" y="5684"/>
                  <a:pt x="1222" y="5685"/>
                </a:cubicBezTo>
                <a:cubicBezTo>
                  <a:pt x="1222" y="5686"/>
                  <a:pt x="1223" y="5686"/>
                  <a:pt x="1224" y="5686"/>
                </a:cubicBezTo>
                <a:cubicBezTo>
                  <a:pt x="1225" y="5686"/>
                  <a:pt x="1225" y="5686"/>
                  <a:pt x="1225" y="5685"/>
                </a:cubicBezTo>
                <a:close/>
                <a:moveTo>
                  <a:pt x="1074" y="5838"/>
                </a:moveTo>
                <a:cubicBezTo>
                  <a:pt x="1073" y="5838"/>
                  <a:pt x="1072" y="5838"/>
                  <a:pt x="1072" y="5839"/>
                </a:cubicBezTo>
                <a:cubicBezTo>
                  <a:pt x="1072" y="5840"/>
                  <a:pt x="1073" y="5841"/>
                  <a:pt x="1074" y="5841"/>
                </a:cubicBezTo>
                <a:cubicBezTo>
                  <a:pt x="1075" y="5841"/>
                  <a:pt x="1076" y="5840"/>
                  <a:pt x="1076" y="5839"/>
                </a:cubicBezTo>
                <a:cubicBezTo>
                  <a:pt x="1076" y="5838"/>
                  <a:pt x="1075" y="5838"/>
                  <a:pt x="1074" y="5838"/>
                </a:cubicBezTo>
                <a:close/>
                <a:moveTo>
                  <a:pt x="3" y="106"/>
                </a:moveTo>
                <a:cubicBezTo>
                  <a:pt x="1" y="106"/>
                  <a:pt x="0" y="107"/>
                  <a:pt x="0" y="108"/>
                </a:cubicBezTo>
                <a:cubicBezTo>
                  <a:pt x="0" y="109"/>
                  <a:pt x="1" y="110"/>
                  <a:pt x="3" y="110"/>
                </a:cubicBezTo>
                <a:cubicBezTo>
                  <a:pt x="4" y="110"/>
                  <a:pt x="5" y="109"/>
                  <a:pt x="5" y="108"/>
                </a:cubicBezTo>
                <a:cubicBezTo>
                  <a:pt x="5" y="107"/>
                  <a:pt x="4" y="106"/>
                  <a:pt x="3" y="106"/>
                </a:cubicBezTo>
                <a:close/>
                <a:moveTo>
                  <a:pt x="198" y="194"/>
                </a:moveTo>
                <a:cubicBezTo>
                  <a:pt x="196" y="194"/>
                  <a:pt x="194" y="196"/>
                  <a:pt x="194" y="198"/>
                </a:cubicBezTo>
                <a:cubicBezTo>
                  <a:pt x="194" y="200"/>
                  <a:pt x="196" y="202"/>
                  <a:pt x="198" y="202"/>
                </a:cubicBezTo>
                <a:cubicBezTo>
                  <a:pt x="200" y="202"/>
                  <a:pt x="202" y="200"/>
                  <a:pt x="202" y="198"/>
                </a:cubicBezTo>
                <a:cubicBezTo>
                  <a:pt x="202" y="196"/>
                  <a:pt x="200" y="194"/>
                  <a:pt x="198" y="194"/>
                </a:cubicBezTo>
                <a:close/>
                <a:moveTo>
                  <a:pt x="388" y="294"/>
                </a:moveTo>
                <a:cubicBezTo>
                  <a:pt x="384" y="294"/>
                  <a:pt x="382" y="297"/>
                  <a:pt x="382" y="300"/>
                </a:cubicBezTo>
                <a:cubicBezTo>
                  <a:pt x="382" y="304"/>
                  <a:pt x="384" y="306"/>
                  <a:pt x="388" y="306"/>
                </a:cubicBezTo>
                <a:cubicBezTo>
                  <a:pt x="391" y="306"/>
                  <a:pt x="394" y="304"/>
                  <a:pt x="394" y="300"/>
                </a:cubicBezTo>
                <a:cubicBezTo>
                  <a:pt x="394" y="297"/>
                  <a:pt x="391" y="294"/>
                  <a:pt x="388" y="294"/>
                </a:cubicBezTo>
                <a:close/>
                <a:moveTo>
                  <a:pt x="571" y="403"/>
                </a:moveTo>
                <a:cubicBezTo>
                  <a:pt x="565" y="403"/>
                  <a:pt x="560" y="407"/>
                  <a:pt x="560" y="413"/>
                </a:cubicBezTo>
                <a:cubicBezTo>
                  <a:pt x="560" y="419"/>
                  <a:pt x="565" y="424"/>
                  <a:pt x="571" y="424"/>
                </a:cubicBezTo>
                <a:cubicBezTo>
                  <a:pt x="577" y="424"/>
                  <a:pt x="582" y="419"/>
                  <a:pt x="582" y="413"/>
                </a:cubicBezTo>
                <a:cubicBezTo>
                  <a:pt x="582" y="407"/>
                  <a:pt x="577" y="403"/>
                  <a:pt x="571" y="403"/>
                </a:cubicBezTo>
                <a:close/>
                <a:moveTo>
                  <a:pt x="747" y="521"/>
                </a:moveTo>
                <a:cubicBezTo>
                  <a:pt x="737" y="521"/>
                  <a:pt x="730" y="528"/>
                  <a:pt x="730" y="538"/>
                </a:cubicBezTo>
                <a:cubicBezTo>
                  <a:pt x="730" y="547"/>
                  <a:pt x="737" y="555"/>
                  <a:pt x="747" y="555"/>
                </a:cubicBezTo>
                <a:cubicBezTo>
                  <a:pt x="756" y="555"/>
                  <a:pt x="764" y="547"/>
                  <a:pt x="764" y="538"/>
                </a:cubicBezTo>
                <a:cubicBezTo>
                  <a:pt x="764" y="528"/>
                  <a:pt x="756" y="521"/>
                  <a:pt x="747" y="521"/>
                </a:cubicBezTo>
                <a:close/>
                <a:moveTo>
                  <a:pt x="915" y="649"/>
                </a:moveTo>
                <a:cubicBezTo>
                  <a:pt x="901" y="649"/>
                  <a:pt x="891" y="660"/>
                  <a:pt x="891" y="673"/>
                </a:cubicBezTo>
                <a:cubicBezTo>
                  <a:pt x="891" y="686"/>
                  <a:pt x="901" y="697"/>
                  <a:pt x="915" y="697"/>
                </a:cubicBezTo>
                <a:cubicBezTo>
                  <a:pt x="928" y="697"/>
                  <a:pt x="939" y="686"/>
                  <a:pt x="939" y="673"/>
                </a:cubicBezTo>
                <a:cubicBezTo>
                  <a:pt x="939" y="660"/>
                  <a:pt x="928" y="649"/>
                  <a:pt x="915" y="649"/>
                </a:cubicBezTo>
                <a:close/>
                <a:moveTo>
                  <a:pt x="1074" y="788"/>
                </a:moveTo>
                <a:cubicBezTo>
                  <a:pt x="1057" y="788"/>
                  <a:pt x="1044" y="802"/>
                  <a:pt x="1044" y="818"/>
                </a:cubicBezTo>
                <a:cubicBezTo>
                  <a:pt x="1044" y="834"/>
                  <a:pt x="1057" y="848"/>
                  <a:pt x="1074" y="848"/>
                </a:cubicBezTo>
                <a:cubicBezTo>
                  <a:pt x="1090" y="848"/>
                  <a:pt x="1104" y="834"/>
                  <a:pt x="1104" y="818"/>
                </a:cubicBezTo>
                <a:cubicBezTo>
                  <a:pt x="1104" y="802"/>
                  <a:pt x="1090" y="788"/>
                  <a:pt x="1074" y="788"/>
                </a:cubicBezTo>
                <a:close/>
                <a:moveTo>
                  <a:pt x="1224" y="938"/>
                </a:moveTo>
                <a:cubicBezTo>
                  <a:pt x="1205" y="938"/>
                  <a:pt x="1190" y="954"/>
                  <a:pt x="1190" y="973"/>
                </a:cubicBezTo>
                <a:cubicBezTo>
                  <a:pt x="1190" y="992"/>
                  <a:pt x="1205" y="1007"/>
                  <a:pt x="1224" y="1007"/>
                </a:cubicBezTo>
                <a:cubicBezTo>
                  <a:pt x="1243" y="1007"/>
                  <a:pt x="1258" y="992"/>
                  <a:pt x="1258" y="973"/>
                </a:cubicBezTo>
                <a:cubicBezTo>
                  <a:pt x="1258" y="954"/>
                  <a:pt x="1243" y="938"/>
                  <a:pt x="1224" y="938"/>
                </a:cubicBezTo>
                <a:close/>
                <a:moveTo>
                  <a:pt x="1401" y="1136"/>
                </a:moveTo>
                <a:cubicBezTo>
                  <a:pt x="1401" y="1116"/>
                  <a:pt x="1384" y="1099"/>
                  <a:pt x="1364" y="1099"/>
                </a:cubicBezTo>
                <a:cubicBezTo>
                  <a:pt x="1343" y="1099"/>
                  <a:pt x="1327" y="1116"/>
                  <a:pt x="1327" y="1136"/>
                </a:cubicBezTo>
                <a:cubicBezTo>
                  <a:pt x="1327" y="1157"/>
                  <a:pt x="1343" y="1173"/>
                  <a:pt x="1364" y="1173"/>
                </a:cubicBezTo>
                <a:cubicBezTo>
                  <a:pt x="1384" y="1173"/>
                  <a:pt x="1401" y="1157"/>
                  <a:pt x="1401" y="1136"/>
                </a:cubicBezTo>
                <a:close/>
                <a:moveTo>
                  <a:pt x="1494" y="1267"/>
                </a:moveTo>
                <a:cubicBezTo>
                  <a:pt x="1471" y="1267"/>
                  <a:pt x="1453" y="1285"/>
                  <a:pt x="1453" y="1308"/>
                </a:cubicBezTo>
                <a:cubicBezTo>
                  <a:pt x="1453" y="1331"/>
                  <a:pt x="1471" y="1349"/>
                  <a:pt x="1494" y="1349"/>
                </a:cubicBezTo>
                <a:cubicBezTo>
                  <a:pt x="1516" y="1349"/>
                  <a:pt x="1535" y="1331"/>
                  <a:pt x="1535" y="1308"/>
                </a:cubicBezTo>
                <a:cubicBezTo>
                  <a:pt x="1535" y="1285"/>
                  <a:pt x="1516" y="1267"/>
                  <a:pt x="1494" y="1267"/>
                </a:cubicBezTo>
                <a:close/>
                <a:moveTo>
                  <a:pt x="1613" y="1441"/>
                </a:moveTo>
                <a:cubicBezTo>
                  <a:pt x="1587" y="1441"/>
                  <a:pt x="1566" y="1462"/>
                  <a:pt x="1566" y="1488"/>
                </a:cubicBezTo>
                <a:cubicBezTo>
                  <a:pt x="1566" y="1513"/>
                  <a:pt x="1587" y="1534"/>
                  <a:pt x="1613" y="1534"/>
                </a:cubicBezTo>
                <a:cubicBezTo>
                  <a:pt x="1638" y="1534"/>
                  <a:pt x="1659" y="1513"/>
                  <a:pt x="1659" y="1488"/>
                </a:cubicBezTo>
                <a:cubicBezTo>
                  <a:pt x="1659" y="1462"/>
                  <a:pt x="1638" y="1441"/>
                  <a:pt x="1613" y="1441"/>
                </a:cubicBezTo>
                <a:close/>
                <a:moveTo>
                  <a:pt x="1720" y="1727"/>
                </a:moveTo>
                <a:cubicBezTo>
                  <a:pt x="1750" y="1727"/>
                  <a:pt x="1773" y="1704"/>
                  <a:pt x="1773" y="1674"/>
                </a:cubicBezTo>
                <a:cubicBezTo>
                  <a:pt x="1773" y="1645"/>
                  <a:pt x="1750" y="1621"/>
                  <a:pt x="1720" y="1621"/>
                </a:cubicBezTo>
                <a:cubicBezTo>
                  <a:pt x="1691" y="1621"/>
                  <a:pt x="1667" y="1645"/>
                  <a:pt x="1667" y="1674"/>
                </a:cubicBezTo>
                <a:cubicBezTo>
                  <a:pt x="1667" y="1704"/>
                  <a:pt x="1691" y="1727"/>
                  <a:pt x="1720" y="1727"/>
                </a:cubicBezTo>
                <a:close/>
                <a:moveTo>
                  <a:pt x="1875" y="1867"/>
                </a:moveTo>
                <a:cubicBezTo>
                  <a:pt x="1875" y="1835"/>
                  <a:pt x="1849" y="1808"/>
                  <a:pt x="1816" y="1808"/>
                </a:cubicBezTo>
                <a:cubicBezTo>
                  <a:pt x="1784" y="1808"/>
                  <a:pt x="1758" y="1835"/>
                  <a:pt x="1758" y="1867"/>
                </a:cubicBezTo>
                <a:cubicBezTo>
                  <a:pt x="1758" y="1899"/>
                  <a:pt x="1784" y="1926"/>
                  <a:pt x="1816" y="1926"/>
                </a:cubicBezTo>
                <a:cubicBezTo>
                  <a:pt x="1849" y="1926"/>
                  <a:pt x="1875" y="1899"/>
                  <a:pt x="1875" y="1867"/>
                </a:cubicBezTo>
                <a:close/>
                <a:moveTo>
                  <a:pt x="1836" y="2065"/>
                </a:moveTo>
                <a:cubicBezTo>
                  <a:pt x="1836" y="2101"/>
                  <a:pt x="1865" y="2129"/>
                  <a:pt x="1900" y="2129"/>
                </a:cubicBezTo>
                <a:cubicBezTo>
                  <a:pt x="1936" y="2129"/>
                  <a:pt x="1964" y="2101"/>
                  <a:pt x="1964" y="2065"/>
                </a:cubicBezTo>
                <a:cubicBezTo>
                  <a:pt x="1964" y="2030"/>
                  <a:pt x="1936" y="2002"/>
                  <a:pt x="1900" y="2002"/>
                </a:cubicBezTo>
                <a:cubicBezTo>
                  <a:pt x="1865" y="2002"/>
                  <a:pt x="1836" y="2030"/>
                  <a:pt x="1836" y="2065"/>
                </a:cubicBezTo>
                <a:close/>
                <a:moveTo>
                  <a:pt x="1972" y="2202"/>
                </a:moveTo>
                <a:cubicBezTo>
                  <a:pt x="1935" y="2202"/>
                  <a:pt x="1906" y="2232"/>
                  <a:pt x="1906" y="2269"/>
                </a:cubicBezTo>
                <a:cubicBezTo>
                  <a:pt x="1906" y="2305"/>
                  <a:pt x="1935" y="2335"/>
                  <a:pt x="1972" y="2335"/>
                </a:cubicBezTo>
                <a:cubicBezTo>
                  <a:pt x="2008" y="2335"/>
                  <a:pt x="2038" y="2305"/>
                  <a:pt x="2038" y="2269"/>
                </a:cubicBezTo>
                <a:cubicBezTo>
                  <a:pt x="2038" y="2232"/>
                  <a:pt x="2008" y="2202"/>
                  <a:pt x="1972" y="2202"/>
                </a:cubicBezTo>
                <a:close/>
                <a:moveTo>
                  <a:pt x="2031" y="2410"/>
                </a:moveTo>
                <a:cubicBezTo>
                  <a:pt x="1994" y="2410"/>
                  <a:pt x="1965" y="2439"/>
                  <a:pt x="1965" y="2476"/>
                </a:cubicBezTo>
                <a:cubicBezTo>
                  <a:pt x="1965" y="2512"/>
                  <a:pt x="1994" y="2542"/>
                  <a:pt x="2031" y="2542"/>
                </a:cubicBezTo>
                <a:cubicBezTo>
                  <a:pt x="2067" y="2542"/>
                  <a:pt x="2097" y="2512"/>
                  <a:pt x="2097" y="2476"/>
                </a:cubicBezTo>
                <a:cubicBezTo>
                  <a:pt x="2097" y="2439"/>
                  <a:pt x="2067" y="2410"/>
                  <a:pt x="2031" y="2410"/>
                </a:cubicBezTo>
                <a:close/>
                <a:moveTo>
                  <a:pt x="2077" y="2621"/>
                </a:moveTo>
                <a:cubicBezTo>
                  <a:pt x="2041" y="2621"/>
                  <a:pt x="2012" y="2650"/>
                  <a:pt x="2012" y="2686"/>
                </a:cubicBezTo>
                <a:cubicBezTo>
                  <a:pt x="2012" y="2722"/>
                  <a:pt x="2041" y="2751"/>
                  <a:pt x="2077" y="2751"/>
                </a:cubicBezTo>
                <a:cubicBezTo>
                  <a:pt x="2113" y="2751"/>
                  <a:pt x="2142" y="2722"/>
                  <a:pt x="2142" y="2686"/>
                </a:cubicBezTo>
                <a:cubicBezTo>
                  <a:pt x="2142" y="2650"/>
                  <a:pt x="2113" y="2621"/>
                  <a:pt x="2077" y="2621"/>
                </a:cubicBezTo>
                <a:close/>
                <a:moveTo>
                  <a:pt x="2110" y="2836"/>
                </a:moveTo>
                <a:cubicBezTo>
                  <a:pt x="2075" y="2836"/>
                  <a:pt x="2047" y="2864"/>
                  <a:pt x="2047" y="2899"/>
                </a:cubicBezTo>
                <a:cubicBezTo>
                  <a:pt x="2047" y="2934"/>
                  <a:pt x="2075" y="2962"/>
                  <a:pt x="2110" y="2962"/>
                </a:cubicBezTo>
                <a:cubicBezTo>
                  <a:pt x="2145" y="2962"/>
                  <a:pt x="2173" y="2934"/>
                  <a:pt x="2173" y="2899"/>
                </a:cubicBezTo>
                <a:cubicBezTo>
                  <a:pt x="2173" y="2864"/>
                  <a:pt x="2145" y="2836"/>
                  <a:pt x="2110" y="2836"/>
                </a:cubicBezTo>
                <a:close/>
                <a:moveTo>
                  <a:pt x="2130" y="3054"/>
                </a:moveTo>
                <a:cubicBezTo>
                  <a:pt x="2097" y="3054"/>
                  <a:pt x="2071" y="3081"/>
                  <a:pt x="2071" y="3113"/>
                </a:cubicBezTo>
                <a:cubicBezTo>
                  <a:pt x="2071" y="3146"/>
                  <a:pt x="2097" y="3173"/>
                  <a:pt x="2130" y="3173"/>
                </a:cubicBezTo>
                <a:cubicBezTo>
                  <a:pt x="2163" y="3173"/>
                  <a:pt x="2189" y="3146"/>
                  <a:pt x="2189" y="3113"/>
                </a:cubicBezTo>
                <a:cubicBezTo>
                  <a:pt x="2189" y="3081"/>
                  <a:pt x="2163" y="3054"/>
                  <a:pt x="2130" y="3054"/>
                </a:cubicBezTo>
                <a:close/>
                <a:moveTo>
                  <a:pt x="2342" y="3263"/>
                </a:moveTo>
                <a:cubicBezTo>
                  <a:pt x="2306" y="3263"/>
                  <a:pt x="2277" y="3292"/>
                  <a:pt x="2277" y="3329"/>
                </a:cubicBezTo>
                <a:cubicBezTo>
                  <a:pt x="2277" y="3365"/>
                  <a:pt x="2306" y="3394"/>
                  <a:pt x="2342" y="3394"/>
                </a:cubicBezTo>
                <a:cubicBezTo>
                  <a:pt x="2378" y="3394"/>
                  <a:pt x="2408" y="3365"/>
                  <a:pt x="2408" y="3329"/>
                </a:cubicBezTo>
                <a:cubicBezTo>
                  <a:pt x="2408" y="3292"/>
                  <a:pt x="2378" y="3263"/>
                  <a:pt x="2342" y="3263"/>
                </a:cubicBezTo>
                <a:close/>
                <a:moveTo>
                  <a:pt x="2399" y="3544"/>
                </a:moveTo>
                <a:cubicBezTo>
                  <a:pt x="2399" y="3509"/>
                  <a:pt x="2371" y="3481"/>
                  <a:pt x="2336" y="3481"/>
                </a:cubicBezTo>
                <a:cubicBezTo>
                  <a:pt x="2301" y="3481"/>
                  <a:pt x="2273" y="3509"/>
                  <a:pt x="2273" y="3544"/>
                </a:cubicBezTo>
                <a:cubicBezTo>
                  <a:pt x="2273" y="3579"/>
                  <a:pt x="2301" y="3607"/>
                  <a:pt x="2336" y="3607"/>
                </a:cubicBezTo>
                <a:cubicBezTo>
                  <a:pt x="2371" y="3607"/>
                  <a:pt x="2399" y="3579"/>
                  <a:pt x="2399" y="3544"/>
                </a:cubicBezTo>
                <a:close/>
                <a:moveTo>
                  <a:pt x="2378" y="3759"/>
                </a:moveTo>
                <a:cubicBezTo>
                  <a:pt x="2378" y="3725"/>
                  <a:pt x="2351" y="3698"/>
                  <a:pt x="2317" y="3698"/>
                </a:cubicBezTo>
                <a:cubicBezTo>
                  <a:pt x="2283" y="3698"/>
                  <a:pt x="2256" y="3725"/>
                  <a:pt x="2256" y="3759"/>
                </a:cubicBezTo>
                <a:cubicBezTo>
                  <a:pt x="2256" y="3792"/>
                  <a:pt x="2283" y="3820"/>
                  <a:pt x="2317" y="3820"/>
                </a:cubicBezTo>
                <a:cubicBezTo>
                  <a:pt x="2351" y="3820"/>
                  <a:pt x="2378" y="3792"/>
                  <a:pt x="2378" y="3759"/>
                </a:cubicBezTo>
                <a:close/>
                <a:moveTo>
                  <a:pt x="2228" y="3972"/>
                </a:moveTo>
                <a:cubicBezTo>
                  <a:pt x="2228" y="4004"/>
                  <a:pt x="2254" y="4029"/>
                  <a:pt x="2286" y="4029"/>
                </a:cubicBezTo>
                <a:cubicBezTo>
                  <a:pt x="2318" y="4029"/>
                  <a:pt x="2344" y="4004"/>
                  <a:pt x="2344" y="3972"/>
                </a:cubicBezTo>
                <a:cubicBezTo>
                  <a:pt x="2344" y="3940"/>
                  <a:pt x="2318" y="3914"/>
                  <a:pt x="2286" y="3914"/>
                </a:cubicBezTo>
                <a:cubicBezTo>
                  <a:pt x="2254" y="3914"/>
                  <a:pt x="2228" y="3940"/>
                  <a:pt x="2228" y="3972"/>
                </a:cubicBezTo>
                <a:close/>
                <a:moveTo>
                  <a:pt x="2296" y="4183"/>
                </a:moveTo>
                <a:cubicBezTo>
                  <a:pt x="2296" y="4153"/>
                  <a:pt x="2272" y="4129"/>
                  <a:pt x="2242" y="4129"/>
                </a:cubicBezTo>
                <a:cubicBezTo>
                  <a:pt x="2213" y="4129"/>
                  <a:pt x="2189" y="4153"/>
                  <a:pt x="2189" y="4183"/>
                </a:cubicBezTo>
                <a:cubicBezTo>
                  <a:pt x="2189" y="4212"/>
                  <a:pt x="2213" y="4236"/>
                  <a:pt x="2242" y="4236"/>
                </a:cubicBezTo>
                <a:cubicBezTo>
                  <a:pt x="2272" y="4236"/>
                  <a:pt x="2296" y="4212"/>
                  <a:pt x="2296" y="4183"/>
                </a:cubicBezTo>
                <a:close/>
                <a:moveTo>
                  <a:pt x="2236" y="4391"/>
                </a:moveTo>
                <a:cubicBezTo>
                  <a:pt x="2236" y="4364"/>
                  <a:pt x="2214" y="4342"/>
                  <a:pt x="2187" y="4342"/>
                </a:cubicBezTo>
                <a:cubicBezTo>
                  <a:pt x="2160" y="4342"/>
                  <a:pt x="2138" y="4364"/>
                  <a:pt x="2138" y="4391"/>
                </a:cubicBezTo>
                <a:cubicBezTo>
                  <a:pt x="2138" y="4418"/>
                  <a:pt x="2160" y="4440"/>
                  <a:pt x="2187" y="4440"/>
                </a:cubicBezTo>
                <a:cubicBezTo>
                  <a:pt x="2214" y="4440"/>
                  <a:pt x="2236" y="4418"/>
                  <a:pt x="2236" y="4391"/>
                </a:cubicBezTo>
                <a:close/>
                <a:moveTo>
                  <a:pt x="2119" y="4640"/>
                </a:moveTo>
                <a:cubicBezTo>
                  <a:pt x="2143" y="4640"/>
                  <a:pt x="2163" y="4620"/>
                  <a:pt x="2163" y="4595"/>
                </a:cubicBezTo>
                <a:cubicBezTo>
                  <a:pt x="2163" y="4571"/>
                  <a:pt x="2143" y="4551"/>
                  <a:pt x="2119" y="4551"/>
                </a:cubicBezTo>
                <a:cubicBezTo>
                  <a:pt x="2094" y="4551"/>
                  <a:pt x="2074" y="4571"/>
                  <a:pt x="2074" y="4595"/>
                </a:cubicBezTo>
                <a:cubicBezTo>
                  <a:pt x="2074" y="4620"/>
                  <a:pt x="2094" y="4640"/>
                  <a:pt x="2119" y="4640"/>
                </a:cubicBezTo>
                <a:close/>
                <a:moveTo>
                  <a:pt x="2039" y="4835"/>
                </a:moveTo>
                <a:cubicBezTo>
                  <a:pt x="2061" y="4835"/>
                  <a:pt x="2079" y="4817"/>
                  <a:pt x="2079" y="4795"/>
                </a:cubicBezTo>
                <a:cubicBezTo>
                  <a:pt x="2079" y="4774"/>
                  <a:pt x="2061" y="4756"/>
                  <a:pt x="2039" y="4756"/>
                </a:cubicBezTo>
                <a:cubicBezTo>
                  <a:pt x="2018" y="4756"/>
                  <a:pt x="2000" y="4774"/>
                  <a:pt x="2000" y="4795"/>
                </a:cubicBezTo>
                <a:cubicBezTo>
                  <a:pt x="2000" y="4817"/>
                  <a:pt x="2018" y="4835"/>
                  <a:pt x="2039" y="4835"/>
                </a:cubicBezTo>
                <a:close/>
                <a:moveTo>
                  <a:pt x="1982" y="4991"/>
                </a:moveTo>
                <a:cubicBezTo>
                  <a:pt x="1982" y="4972"/>
                  <a:pt x="1967" y="4957"/>
                  <a:pt x="1948" y="4957"/>
                </a:cubicBezTo>
                <a:cubicBezTo>
                  <a:pt x="1930" y="4957"/>
                  <a:pt x="1915" y="4972"/>
                  <a:pt x="1915" y="4991"/>
                </a:cubicBezTo>
                <a:cubicBezTo>
                  <a:pt x="1915" y="5009"/>
                  <a:pt x="1930" y="5024"/>
                  <a:pt x="1948" y="5024"/>
                </a:cubicBezTo>
                <a:cubicBezTo>
                  <a:pt x="1967" y="5024"/>
                  <a:pt x="1982" y="5009"/>
                  <a:pt x="1982" y="4991"/>
                </a:cubicBezTo>
                <a:close/>
                <a:moveTo>
                  <a:pt x="1818" y="5180"/>
                </a:moveTo>
                <a:cubicBezTo>
                  <a:pt x="1818" y="5196"/>
                  <a:pt x="1831" y="5208"/>
                  <a:pt x="1846" y="5208"/>
                </a:cubicBezTo>
                <a:cubicBezTo>
                  <a:pt x="1862" y="5208"/>
                  <a:pt x="1874" y="5196"/>
                  <a:pt x="1874" y="5180"/>
                </a:cubicBezTo>
                <a:cubicBezTo>
                  <a:pt x="1874" y="5165"/>
                  <a:pt x="1862" y="5152"/>
                  <a:pt x="1846" y="5152"/>
                </a:cubicBezTo>
                <a:cubicBezTo>
                  <a:pt x="1831" y="5152"/>
                  <a:pt x="1818" y="5165"/>
                  <a:pt x="1818" y="5180"/>
                </a:cubicBezTo>
                <a:close/>
                <a:moveTo>
                  <a:pt x="1733" y="5385"/>
                </a:moveTo>
                <a:cubicBezTo>
                  <a:pt x="1745" y="5385"/>
                  <a:pt x="1755" y="5375"/>
                  <a:pt x="1755" y="5363"/>
                </a:cubicBezTo>
                <a:cubicBezTo>
                  <a:pt x="1755" y="5351"/>
                  <a:pt x="1745" y="5342"/>
                  <a:pt x="1733" y="5342"/>
                </a:cubicBezTo>
                <a:cubicBezTo>
                  <a:pt x="1721" y="5342"/>
                  <a:pt x="1711" y="5351"/>
                  <a:pt x="1711" y="5363"/>
                </a:cubicBezTo>
                <a:cubicBezTo>
                  <a:pt x="1711" y="5375"/>
                  <a:pt x="1721" y="5385"/>
                  <a:pt x="1733" y="5385"/>
                </a:cubicBezTo>
                <a:close/>
                <a:moveTo>
                  <a:pt x="1610" y="5525"/>
                </a:moveTo>
                <a:cubicBezTo>
                  <a:pt x="1601" y="5525"/>
                  <a:pt x="1594" y="5531"/>
                  <a:pt x="1594" y="5540"/>
                </a:cubicBezTo>
                <a:cubicBezTo>
                  <a:pt x="1594" y="5548"/>
                  <a:pt x="1601" y="5555"/>
                  <a:pt x="1610" y="5555"/>
                </a:cubicBezTo>
                <a:cubicBezTo>
                  <a:pt x="1618" y="5555"/>
                  <a:pt x="1625" y="5548"/>
                  <a:pt x="1625" y="5540"/>
                </a:cubicBezTo>
                <a:cubicBezTo>
                  <a:pt x="1625" y="5531"/>
                  <a:pt x="1618" y="5525"/>
                  <a:pt x="1610" y="5525"/>
                </a:cubicBezTo>
                <a:close/>
                <a:moveTo>
                  <a:pt x="1476" y="5700"/>
                </a:moveTo>
                <a:cubicBezTo>
                  <a:pt x="1471" y="5700"/>
                  <a:pt x="1467" y="5704"/>
                  <a:pt x="1467" y="5709"/>
                </a:cubicBezTo>
                <a:cubicBezTo>
                  <a:pt x="1467" y="5714"/>
                  <a:pt x="1471" y="5718"/>
                  <a:pt x="1476" y="5718"/>
                </a:cubicBezTo>
                <a:cubicBezTo>
                  <a:pt x="1481" y="5718"/>
                  <a:pt x="1485" y="5714"/>
                  <a:pt x="1485" y="5709"/>
                </a:cubicBezTo>
                <a:cubicBezTo>
                  <a:pt x="1485" y="5704"/>
                  <a:pt x="1481" y="5700"/>
                  <a:pt x="1476" y="5700"/>
                </a:cubicBezTo>
                <a:close/>
                <a:moveTo>
                  <a:pt x="1333" y="5865"/>
                </a:moveTo>
                <a:cubicBezTo>
                  <a:pt x="1330" y="5865"/>
                  <a:pt x="1328" y="5867"/>
                  <a:pt x="1328" y="5870"/>
                </a:cubicBezTo>
                <a:cubicBezTo>
                  <a:pt x="1328" y="5872"/>
                  <a:pt x="1330" y="5874"/>
                  <a:pt x="1333" y="5874"/>
                </a:cubicBezTo>
                <a:cubicBezTo>
                  <a:pt x="1335" y="5874"/>
                  <a:pt x="1337" y="5872"/>
                  <a:pt x="1337" y="5870"/>
                </a:cubicBezTo>
                <a:cubicBezTo>
                  <a:pt x="1337" y="5867"/>
                  <a:pt x="1335" y="5865"/>
                  <a:pt x="1333" y="5865"/>
                </a:cubicBezTo>
                <a:close/>
                <a:moveTo>
                  <a:pt x="1180" y="6020"/>
                </a:moveTo>
                <a:cubicBezTo>
                  <a:pt x="1179" y="6020"/>
                  <a:pt x="1178" y="6021"/>
                  <a:pt x="1178" y="6022"/>
                </a:cubicBezTo>
                <a:cubicBezTo>
                  <a:pt x="1178" y="6023"/>
                  <a:pt x="1179" y="6024"/>
                  <a:pt x="1180" y="6024"/>
                </a:cubicBezTo>
                <a:cubicBezTo>
                  <a:pt x="1182" y="6024"/>
                  <a:pt x="1183" y="6023"/>
                  <a:pt x="1183" y="6022"/>
                </a:cubicBezTo>
                <a:cubicBezTo>
                  <a:pt x="1183" y="6021"/>
                  <a:pt x="1182" y="6020"/>
                  <a:pt x="1180" y="6020"/>
                </a:cubicBezTo>
                <a:close/>
                <a:moveTo>
                  <a:pt x="1020" y="6164"/>
                </a:moveTo>
                <a:cubicBezTo>
                  <a:pt x="1019" y="6164"/>
                  <a:pt x="1018" y="6164"/>
                  <a:pt x="1018" y="6165"/>
                </a:cubicBezTo>
                <a:cubicBezTo>
                  <a:pt x="1018" y="6166"/>
                  <a:pt x="1019" y="6167"/>
                  <a:pt x="1020" y="6167"/>
                </a:cubicBezTo>
                <a:cubicBezTo>
                  <a:pt x="1020" y="6167"/>
                  <a:pt x="1021" y="6166"/>
                  <a:pt x="1021" y="6165"/>
                </a:cubicBezTo>
                <a:cubicBezTo>
                  <a:pt x="1021" y="6164"/>
                  <a:pt x="1020" y="6164"/>
                  <a:pt x="1020" y="6164"/>
                </a:cubicBezTo>
                <a:close/>
                <a:moveTo>
                  <a:pt x="301" y="18"/>
                </a:moveTo>
                <a:cubicBezTo>
                  <a:pt x="300" y="18"/>
                  <a:pt x="299" y="19"/>
                  <a:pt x="299" y="20"/>
                </a:cubicBezTo>
                <a:cubicBezTo>
                  <a:pt x="299" y="21"/>
                  <a:pt x="300" y="21"/>
                  <a:pt x="301" y="21"/>
                </a:cubicBezTo>
                <a:cubicBezTo>
                  <a:pt x="302" y="21"/>
                  <a:pt x="303" y="21"/>
                  <a:pt x="303" y="20"/>
                </a:cubicBezTo>
                <a:cubicBezTo>
                  <a:pt x="303" y="19"/>
                  <a:pt x="302" y="18"/>
                  <a:pt x="301" y="18"/>
                </a:cubicBezTo>
                <a:close/>
                <a:moveTo>
                  <a:pt x="491" y="120"/>
                </a:moveTo>
                <a:cubicBezTo>
                  <a:pt x="490" y="120"/>
                  <a:pt x="489" y="121"/>
                  <a:pt x="489" y="122"/>
                </a:cubicBezTo>
                <a:cubicBezTo>
                  <a:pt x="489" y="123"/>
                  <a:pt x="490" y="124"/>
                  <a:pt x="491" y="124"/>
                </a:cubicBezTo>
                <a:cubicBezTo>
                  <a:pt x="492" y="124"/>
                  <a:pt x="493" y="123"/>
                  <a:pt x="493" y="122"/>
                </a:cubicBezTo>
                <a:cubicBezTo>
                  <a:pt x="493" y="121"/>
                  <a:pt x="492" y="120"/>
                  <a:pt x="491" y="120"/>
                </a:cubicBezTo>
                <a:close/>
                <a:moveTo>
                  <a:pt x="674" y="233"/>
                </a:moveTo>
                <a:cubicBezTo>
                  <a:pt x="673" y="233"/>
                  <a:pt x="672" y="234"/>
                  <a:pt x="672" y="235"/>
                </a:cubicBezTo>
                <a:cubicBezTo>
                  <a:pt x="672" y="236"/>
                  <a:pt x="673" y="237"/>
                  <a:pt x="674" y="237"/>
                </a:cubicBezTo>
                <a:cubicBezTo>
                  <a:pt x="675" y="237"/>
                  <a:pt x="676" y="236"/>
                  <a:pt x="676" y="235"/>
                </a:cubicBezTo>
                <a:cubicBezTo>
                  <a:pt x="676" y="234"/>
                  <a:pt x="675" y="233"/>
                  <a:pt x="674" y="233"/>
                </a:cubicBezTo>
                <a:close/>
                <a:moveTo>
                  <a:pt x="851" y="355"/>
                </a:moveTo>
                <a:cubicBezTo>
                  <a:pt x="849" y="355"/>
                  <a:pt x="847" y="357"/>
                  <a:pt x="847" y="359"/>
                </a:cubicBezTo>
                <a:cubicBezTo>
                  <a:pt x="847" y="360"/>
                  <a:pt x="849" y="362"/>
                  <a:pt x="851" y="362"/>
                </a:cubicBezTo>
                <a:cubicBezTo>
                  <a:pt x="852" y="362"/>
                  <a:pt x="854" y="360"/>
                  <a:pt x="854" y="359"/>
                </a:cubicBezTo>
                <a:cubicBezTo>
                  <a:pt x="854" y="357"/>
                  <a:pt x="852" y="355"/>
                  <a:pt x="851" y="355"/>
                </a:cubicBezTo>
                <a:close/>
                <a:moveTo>
                  <a:pt x="1020" y="488"/>
                </a:moveTo>
                <a:cubicBezTo>
                  <a:pt x="1017" y="488"/>
                  <a:pt x="1015" y="490"/>
                  <a:pt x="1015" y="492"/>
                </a:cubicBezTo>
                <a:cubicBezTo>
                  <a:pt x="1015" y="495"/>
                  <a:pt x="1017" y="497"/>
                  <a:pt x="1020" y="497"/>
                </a:cubicBezTo>
                <a:cubicBezTo>
                  <a:pt x="1022" y="497"/>
                  <a:pt x="1024" y="495"/>
                  <a:pt x="1024" y="492"/>
                </a:cubicBezTo>
                <a:cubicBezTo>
                  <a:pt x="1024" y="490"/>
                  <a:pt x="1022" y="488"/>
                  <a:pt x="1020" y="488"/>
                </a:cubicBezTo>
                <a:close/>
                <a:moveTo>
                  <a:pt x="1180" y="627"/>
                </a:moveTo>
                <a:cubicBezTo>
                  <a:pt x="1176" y="627"/>
                  <a:pt x="1172" y="631"/>
                  <a:pt x="1172" y="635"/>
                </a:cubicBezTo>
                <a:cubicBezTo>
                  <a:pt x="1172" y="640"/>
                  <a:pt x="1176" y="644"/>
                  <a:pt x="1180" y="644"/>
                </a:cubicBezTo>
                <a:cubicBezTo>
                  <a:pt x="1185" y="644"/>
                  <a:pt x="1189" y="640"/>
                  <a:pt x="1189" y="635"/>
                </a:cubicBezTo>
                <a:cubicBezTo>
                  <a:pt x="1189" y="631"/>
                  <a:pt x="1185" y="627"/>
                  <a:pt x="1180" y="627"/>
                </a:cubicBezTo>
                <a:close/>
                <a:moveTo>
                  <a:pt x="1346" y="788"/>
                </a:moveTo>
                <a:cubicBezTo>
                  <a:pt x="1346" y="780"/>
                  <a:pt x="1340" y="775"/>
                  <a:pt x="1333" y="775"/>
                </a:cubicBezTo>
                <a:cubicBezTo>
                  <a:pt x="1325" y="775"/>
                  <a:pt x="1320" y="780"/>
                  <a:pt x="1320" y="788"/>
                </a:cubicBezTo>
                <a:cubicBezTo>
                  <a:pt x="1320" y="795"/>
                  <a:pt x="1325" y="801"/>
                  <a:pt x="1333" y="801"/>
                </a:cubicBezTo>
                <a:cubicBezTo>
                  <a:pt x="1340" y="801"/>
                  <a:pt x="1346" y="795"/>
                  <a:pt x="1346" y="788"/>
                </a:cubicBezTo>
                <a:close/>
                <a:moveTo>
                  <a:pt x="1476" y="969"/>
                </a:moveTo>
                <a:cubicBezTo>
                  <a:pt x="1487" y="969"/>
                  <a:pt x="1496" y="960"/>
                  <a:pt x="1496" y="949"/>
                </a:cubicBezTo>
                <a:cubicBezTo>
                  <a:pt x="1496" y="938"/>
                  <a:pt x="1487" y="929"/>
                  <a:pt x="1476" y="929"/>
                </a:cubicBezTo>
                <a:cubicBezTo>
                  <a:pt x="1465" y="929"/>
                  <a:pt x="1456" y="938"/>
                  <a:pt x="1456" y="949"/>
                </a:cubicBezTo>
                <a:cubicBezTo>
                  <a:pt x="1456" y="960"/>
                  <a:pt x="1465" y="969"/>
                  <a:pt x="1476" y="969"/>
                </a:cubicBezTo>
                <a:close/>
                <a:moveTo>
                  <a:pt x="1610" y="1144"/>
                </a:moveTo>
                <a:cubicBezTo>
                  <a:pt x="1624" y="1144"/>
                  <a:pt x="1636" y="1132"/>
                  <a:pt x="1636" y="1118"/>
                </a:cubicBezTo>
                <a:cubicBezTo>
                  <a:pt x="1636" y="1103"/>
                  <a:pt x="1624" y="1091"/>
                  <a:pt x="1610" y="1091"/>
                </a:cubicBezTo>
                <a:cubicBezTo>
                  <a:pt x="1595" y="1091"/>
                  <a:pt x="1583" y="1103"/>
                  <a:pt x="1583" y="1118"/>
                </a:cubicBezTo>
                <a:cubicBezTo>
                  <a:pt x="1583" y="1132"/>
                  <a:pt x="1595" y="1144"/>
                  <a:pt x="1610" y="1144"/>
                </a:cubicBezTo>
                <a:close/>
                <a:moveTo>
                  <a:pt x="1733" y="1325"/>
                </a:moveTo>
                <a:cubicBezTo>
                  <a:pt x="1750" y="1325"/>
                  <a:pt x="1764" y="1311"/>
                  <a:pt x="1764" y="1294"/>
                </a:cubicBezTo>
                <a:cubicBezTo>
                  <a:pt x="1764" y="1277"/>
                  <a:pt x="1750" y="1263"/>
                  <a:pt x="1733" y="1263"/>
                </a:cubicBezTo>
                <a:cubicBezTo>
                  <a:pt x="1716" y="1263"/>
                  <a:pt x="1702" y="1277"/>
                  <a:pt x="1702" y="1294"/>
                </a:cubicBezTo>
                <a:cubicBezTo>
                  <a:pt x="1702" y="1311"/>
                  <a:pt x="1716" y="1325"/>
                  <a:pt x="1733" y="1325"/>
                </a:cubicBezTo>
                <a:close/>
                <a:moveTo>
                  <a:pt x="1846" y="1512"/>
                </a:moveTo>
                <a:cubicBezTo>
                  <a:pt x="1865" y="1512"/>
                  <a:pt x="1881" y="1497"/>
                  <a:pt x="1881" y="1477"/>
                </a:cubicBezTo>
                <a:cubicBezTo>
                  <a:pt x="1881" y="1458"/>
                  <a:pt x="1865" y="1442"/>
                  <a:pt x="1846" y="1442"/>
                </a:cubicBezTo>
                <a:cubicBezTo>
                  <a:pt x="1827" y="1442"/>
                  <a:pt x="1811" y="1458"/>
                  <a:pt x="1811" y="1477"/>
                </a:cubicBezTo>
                <a:cubicBezTo>
                  <a:pt x="1811" y="1497"/>
                  <a:pt x="1827" y="1512"/>
                  <a:pt x="1846" y="1512"/>
                </a:cubicBezTo>
                <a:close/>
                <a:moveTo>
                  <a:pt x="1948" y="1705"/>
                </a:moveTo>
                <a:cubicBezTo>
                  <a:pt x="1969" y="1705"/>
                  <a:pt x="1986" y="1688"/>
                  <a:pt x="1986" y="1667"/>
                </a:cubicBezTo>
                <a:cubicBezTo>
                  <a:pt x="1986" y="1646"/>
                  <a:pt x="1969" y="1629"/>
                  <a:pt x="1948" y="1629"/>
                </a:cubicBezTo>
                <a:cubicBezTo>
                  <a:pt x="1928" y="1629"/>
                  <a:pt x="1911" y="1646"/>
                  <a:pt x="1911" y="1667"/>
                </a:cubicBezTo>
                <a:cubicBezTo>
                  <a:pt x="1911" y="1688"/>
                  <a:pt x="1928" y="1705"/>
                  <a:pt x="1948" y="1705"/>
                </a:cubicBezTo>
                <a:close/>
                <a:moveTo>
                  <a:pt x="2039" y="1904"/>
                </a:moveTo>
                <a:cubicBezTo>
                  <a:pt x="2062" y="1904"/>
                  <a:pt x="2081" y="1885"/>
                  <a:pt x="2081" y="1862"/>
                </a:cubicBezTo>
                <a:cubicBezTo>
                  <a:pt x="2081" y="1839"/>
                  <a:pt x="2062" y="1820"/>
                  <a:pt x="2039" y="1820"/>
                </a:cubicBezTo>
                <a:cubicBezTo>
                  <a:pt x="2016" y="1820"/>
                  <a:pt x="1998" y="1839"/>
                  <a:pt x="1998" y="1862"/>
                </a:cubicBezTo>
                <a:cubicBezTo>
                  <a:pt x="1998" y="1885"/>
                  <a:pt x="2016" y="1904"/>
                  <a:pt x="2039" y="1904"/>
                </a:cubicBezTo>
                <a:close/>
                <a:moveTo>
                  <a:pt x="2072" y="2062"/>
                </a:moveTo>
                <a:cubicBezTo>
                  <a:pt x="2072" y="2088"/>
                  <a:pt x="2093" y="2109"/>
                  <a:pt x="2119" y="2109"/>
                </a:cubicBezTo>
                <a:cubicBezTo>
                  <a:pt x="2145" y="2109"/>
                  <a:pt x="2166" y="2088"/>
                  <a:pt x="2166" y="2062"/>
                </a:cubicBezTo>
                <a:cubicBezTo>
                  <a:pt x="2166" y="2036"/>
                  <a:pt x="2145" y="2015"/>
                  <a:pt x="2119" y="2015"/>
                </a:cubicBezTo>
                <a:cubicBezTo>
                  <a:pt x="2093" y="2015"/>
                  <a:pt x="2072" y="2036"/>
                  <a:pt x="2072" y="2062"/>
                </a:cubicBezTo>
                <a:close/>
                <a:moveTo>
                  <a:pt x="2134" y="2267"/>
                </a:moveTo>
                <a:cubicBezTo>
                  <a:pt x="2134" y="2296"/>
                  <a:pt x="2157" y="2320"/>
                  <a:pt x="2187" y="2320"/>
                </a:cubicBezTo>
                <a:cubicBezTo>
                  <a:pt x="2216" y="2320"/>
                  <a:pt x="2240" y="2296"/>
                  <a:pt x="2240" y="2267"/>
                </a:cubicBezTo>
                <a:cubicBezTo>
                  <a:pt x="2240" y="2237"/>
                  <a:pt x="2216" y="2214"/>
                  <a:pt x="2187" y="2214"/>
                </a:cubicBezTo>
                <a:cubicBezTo>
                  <a:pt x="2157" y="2214"/>
                  <a:pt x="2134" y="2237"/>
                  <a:pt x="2134" y="2267"/>
                </a:cubicBezTo>
                <a:close/>
                <a:moveTo>
                  <a:pt x="2242" y="2416"/>
                </a:moveTo>
                <a:cubicBezTo>
                  <a:pt x="2210" y="2416"/>
                  <a:pt x="2184" y="2442"/>
                  <a:pt x="2184" y="2475"/>
                </a:cubicBezTo>
                <a:cubicBezTo>
                  <a:pt x="2184" y="2507"/>
                  <a:pt x="2210" y="2534"/>
                  <a:pt x="2242" y="2534"/>
                </a:cubicBezTo>
                <a:cubicBezTo>
                  <a:pt x="2275" y="2534"/>
                  <a:pt x="2301" y="2507"/>
                  <a:pt x="2301" y="2475"/>
                </a:cubicBezTo>
                <a:cubicBezTo>
                  <a:pt x="2301" y="2442"/>
                  <a:pt x="2275" y="2416"/>
                  <a:pt x="2242" y="2416"/>
                </a:cubicBezTo>
                <a:close/>
                <a:moveTo>
                  <a:pt x="2286" y="2622"/>
                </a:moveTo>
                <a:cubicBezTo>
                  <a:pt x="2251" y="2622"/>
                  <a:pt x="2223" y="2651"/>
                  <a:pt x="2223" y="2686"/>
                </a:cubicBezTo>
                <a:cubicBezTo>
                  <a:pt x="2223" y="2721"/>
                  <a:pt x="2251" y="2749"/>
                  <a:pt x="2286" y="2749"/>
                </a:cubicBezTo>
                <a:cubicBezTo>
                  <a:pt x="2321" y="2749"/>
                  <a:pt x="2349" y="2721"/>
                  <a:pt x="2349" y="2686"/>
                </a:cubicBezTo>
                <a:cubicBezTo>
                  <a:pt x="2349" y="2651"/>
                  <a:pt x="2321" y="2622"/>
                  <a:pt x="2286" y="2622"/>
                </a:cubicBezTo>
                <a:close/>
                <a:moveTo>
                  <a:pt x="2317" y="2833"/>
                </a:moveTo>
                <a:cubicBezTo>
                  <a:pt x="2281" y="2833"/>
                  <a:pt x="2252" y="2863"/>
                  <a:pt x="2252" y="2899"/>
                </a:cubicBezTo>
                <a:cubicBezTo>
                  <a:pt x="2252" y="2935"/>
                  <a:pt x="2281" y="2964"/>
                  <a:pt x="2317" y="2964"/>
                </a:cubicBezTo>
                <a:cubicBezTo>
                  <a:pt x="2353" y="2964"/>
                  <a:pt x="2383" y="2935"/>
                  <a:pt x="2383" y="2899"/>
                </a:cubicBezTo>
                <a:cubicBezTo>
                  <a:pt x="2383" y="2863"/>
                  <a:pt x="2353" y="2833"/>
                  <a:pt x="2317" y="2833"/>
                </a:cubicBezTo>
                <a:close/>
                <a:moveTo>
                  <a:pt x="2336" y="3047"/>
                </a:moveTo>
                <a:cubicBezTo>
                  <a:pt x="2299" y="3047"/>
                  <a:pt x="2270" y="3077"/>
                  <a:pt x="2270" y="3113"/>
                </a:cubicBezTo>
                <a:cubicBezTo>
                  <a:pt x="2270" y="3150"/>
                  <a:pt x="2299" y="3180"/>
                  <a:pt x="2336" y="3180"/>
                </a:cubicBezTo>
                <a:cubicBezTo>
                  <a:pt x="2373" y="3180"/>
                  <a:pt x="2402" y="3150"/>
                  <a:pt x="2402" y="3113"/>
                </a:cubicBezTo>
                <a:cubicBezTo>
                  <a:pt x="2402" y="3077"/>
                  <a:pt x="2373" y="3047"/>
                  <a:pt x="2336" y="3047"/>
                </a:cubicBezTo>
                <a:close/>
                <a:moveTo>
                  <a:pt x="2548" y="3267"/>
                </a:moveTo>
                <a:cubicBezTo>
                  <a:pt x="2514" y="3267"/>
                  <a:pt x="2486" y="3294"/>
                  <a:pt x="2486" y="3329"/>
                </a:cubicBezTo>
                <a:cubicBezTo>
                  <a:pt x="2486" y="3363"/>
                  <a:pt x="2514" y="3391"/>
                  <a:pt x="2548" y="3391"/>
                </a:cubicBezTo>
                <a:cubicBezTo>
                  <a:pt x="2582" y="3391"/>
                  <a:pt x="2610" y="3363"/>
                  <a:pt x="2610" y="3329"/>
                </a:cubicBezTo>
                <a:cubicBezTo>
                  <a:pt x="2610" y="3294"/>
                  <a:pt x="2582" y="3267"/>
                  <a:pt x="2548" y="3267"/>
                </a:cubicBezTo>
                <a:close/>
                <a:moveTo>
                  <a:pt x="2542" y="3479"/>
                </a:moveTo>
                <a:cubicBezTo>
                  <a:pt x="2506" y="3479"/>
                  <a:pt x="2477" y="3508"/>
                  <a:pt x="2477" y="3544"/>
                </a:cubicBezTo>
                <a:cubicBezTo>
                  <a:pt x="2477" y="3580"/>
                  <a:pt x="2506" y="3609"/>
                  <a:pt x="2542" y="3609"/>
                </a:cubicBezTo>
                <a:cubicBezTo>
                  <a:pt x="2578" y="3609"/>
                  <a:pt x="2607" y="3580"/>
                  <a:pt x="2607" y="3544"/>
                </a:cubicBezTo>
                <a:cubicBezTo>
                  <a:pt x="2607" y="3508"/>
                  <a:pt x="2578" y="3479"/>
                  <a:pt x="2542" y="3479"/>
                </a:cubicBezTo>
                <a:close/>
                <a:moveTo>
                  <a:pt x="2590" y="3759"/>
                </a:moveTo>
                <a:cubicBezTo>
                  <a:pt x="2590" y="3722"/>
                  <a:pt x="2561" y="3693"/>
                  <a:pt x="2524" y="3693"/>
                </a:cubicBezTo>
                <a:cubicBezTo>
                  <a:pt x="2488" y="3693"/>
                  <a:pt x="2458" y="3722"/>
                  <a:pt x="2458" y="3759"/>
                </a:cubicBezTo>
                <a:cubicBezTo>
                  <a:pt x="2458" y="3795"/>
                  <a:pt x="2488" y="3825"/>
                  <a:pt x="2524" y="3825"/>
                </a:cubicBezTo>
                <a:cubicBezTo>
                  <a:pt x="2561" y="3825"/>
                  <a:pt x="2590" y="3795"/>
                  <a:pt x="2590" y="3759"/>
                </a:cubicBezTo>
                <a:close/>
                <a:moveTo>
                  <a:pt x="2561" y="3972"/>
                </a:moveTo>
                <a:cubicBezTo>
                  <a:pt x="2561" y="3935"/>
                  <a:pt x="2531" y="3906"/>
                  <a:pt x="2495" y="3906"/>
                </a:cubicBezTo>
                <a:cubicBezTo>
                  <a:pt x="2458" y="3906"/>
                  <a:pt x="2428" y="3935"/>
                  <a:pt x="2428" y="3972"/>
                </a:cubicBezTo>
                <a:cubicBezTo>
                  <a:pt x="2428" y="4009"/>
                  <a:pt x="2458" y="4038"/>
                  <a:pt x="2495" y="4038"/>
                </a:cubicBezTo>
                <a:cubicBezTo>
                  <a:pt x="2531" y="4038"/>
                  <a:pt x="2561" y="4009"/>
                  <a:pt x="2561" y="3972"/>
                </a:cubicBezTo>
                <a:close/>
                <a:moveTo>
                  <a:pt x="2518" y="4183"/>
                </a:moveTo>
                <a:cubicBezTo>
                  <a:pt x="2518" y="4148"/>
                  <a:pt x="2489" y="4119"/>
                  <a:pt x="2453" y="4119"/>
                </a:cubicBezTo>
                <a:cubicBezTo>
                  <a:pt x="2418" y="4119"/>
                  <a:pt x="2389" y="4148"/>
                  <a:pt x="2389" y="4183"/>
                </a:cubicBezTo>
                <a:cubicBezTo>
                  <a:pt x="2389" y="4219"/>
                  <a:pt x="2418" y="4248"/>
                  <a:pt x="2453" y="4248"/>
                </a:cubicBezTo>
                <a:cubicBezTo>
                  <a:pt x="2489" y="4248"/>
                  <a:pt x="2518" y="4219"/>
                  <a:pt x="2518" y="4183"/>
                </a:cubicBezTo>
                <a:close/>
                <a:moveTo>
                  <a:pt x="2463" y="4392"/>
                </a:moveTo>
                <a:cubicBezTo>
                  <a:pt x="2463" y="4358"/>
                  <a:pt x="2435" y="4329"/>
                  <a:pt x="2400" y="4329"/>
                </a:cubicBezTo>
                <a:cubicBezTo>
                  <a:pt x="2366" y="4329"/>
                  <a:pt x="2338" y="4358"/>
                  <a:pt x="2338" y="4392"/>
                </a:cubicBezTo>
                <a:cubicBezTo>
                  <a:pt x="2338" y="4427"/>
                  <a:pt x="2366" y="4455"/>
                  <a:pt x="2400" y="4455"/>
                </a:cubicBezTo>
                <a:cubicBezTo>
                  <a:pt x="2435" y="4455"/>
                  <a:pt x="2463" y="4427"/>
                  <a:pt x="2463" y="4392"/>
                </a:cubicBezTo>
                <a:close/>
                <a:moveTo>
                  <a:pt x="2336" y="4657"/>
                </a:moveTo>
                <a:cubicBezTo>
                  <a:pt x="2369" y="4657"/>
                  <a:pt x="2395" y="4631"/>
                  <a:pt x="2395" y="4598"/>
                </a:cubicBezTo>
                <a:cubicBezTo>
                  <a:pt x="2395" y="4565"/>
                  <a:pt x="2369" y="4538"/>
                  <a:pt x="2336" y="4538"/>
                </a:cubicBezTo>
                <a:cubicBezTo>
                  <a:pt x="2303" y="4538"/>
                  <a:pt x="2277" y="4565"/>
                  <a:pt x="2277" y="4598"/>
                </a:cubicBezTo>
                <a:cubicBezTo>
                  <a:pt x="2277" y="4631"/>
                  <a:pt x="2303" y="4657"/>
                  <a:pt x="2336" y="4657"/>
                </a:cubicBezTo>
                <a:close/>
                <a:moveTo>
                  <a:pt x="2317" y="4800"/>
                </a:moveTo>
                <a:cubicBezTo>
                  <a:pt x="2317" y="4769"/>
                  <a:pt x="2292" y="4744"/>
                  <a:pt x="2261" y="4744"/>
                </a:cubicBezTo>
                <a:cubicBezTo>
                  <a:pt x="2230" y="4744"/>
                  <a:pt x="2205" y="4769"/>
                  <a:pt x="2205" y="4800"/>
                </a:cubicBezTo>
                <a:cubicBezTo>
                  <a:pt x="2205" y="4830"/>
                  <a:pt x="2230" y="4855"/>
                  <a:pt x="2261" y="4855"/>
                </a:cubicBezTo>
                <a:cubicBezTo>
                  <a:pt x="2292" y="4855"/>
                  <a:pt x="2317" y="4830"/>
                  <a:pt x="2317" y="4800"/>
                </a:cubicBezTo>
                <a:close/>
                <a:moveTo>
                  <a:pt x="2226" y="4997"/>
                </a:moveTo>
                <a:cubicBezTo>
                  <a:pt x="2226" y="4968"/>
                  <a:pt x="2203" y="4945"/>
                  <a:pt x="2174" y="4945"/>
                </a:cubicBezTo>
                <a:cubicBezTo>
                  <a:pt x="2145" y="4945"/>
                  <a:pt x="2122" y="4968"/>
                  <a:pt x="2122" y="4997"/>
                </a:cubicBezTo>
                <a:cubicBezTo>
                  <a:pt x="2122" y="5025"/>
                  <a:pt x="2145" y="5049"/>
                  <a:pt x="2174" y="5049"/>
                </a:cubicBezTo>
                <a:cubicBezTo>
                  <a:pt x="2203" y="5049"/>
                  <a:pt x="2226" y="5025"/>
                  <a:pt x="2226" y="4997"/>
                </a:cubicBezTo>
                <a:close/>
                <a:moveTo>
                  <a:pt x="2125" y="5189"/>
                </a:moveTo>
                <a:cubicBezTo>
                  <a:pt x="2125" y="5163"/>
                  <a:pt x="2103" y="5141"/>
                  <a:pt x="2077" y="5141"/>
                </a:cubicBezTo>
                <a:cubicBezTo>
                  <a:pt x="2050" y="5141"/>
                  <a:pt x="2029" y="5163"/>
                  <a:pt x="2029" y="5189"/>
                </a:cubicBezTo>
                <a:cubicBezTo>
                  <a:pt x="2029" y="5215"/>
                  <a:pt x="2050" y="5237"/>
                  <a:pt x="2077" y="5237"/>
                </a:cubicBezTo>
                <a:cubicBezTo>
                  <a:pt x="2103" y="5237"/>
                  <a:pt x="2125" y="5215"/>
                  <a:pt x="2125" y="5189"/>
                </a:cubicBezTo>
                <a:close/>
                <a:moveTo>
                  <a:pt x="1969" y="5332"/>
                </a:moveTo>
                <a:cubicBezTo>
                  <a:pt x="1945" y="5332"/>
                  <a:pt x="1926" y="5352"/>
                  <a:pt x="1926" y="5376"/>
                </a:cubicBezTo>
                <a:cubicBezTo>
                  <a:pt x="1926" y="5399"/>
                  <a:pt x="1945" y="5419"/>
                  <a:pt x="1969" y="5419"/>
                </a:cubicBezTo>
                <a:cubicBezTo>
                  <a:pt x="1993" y="5419"/>
                  <a:pt x="2013" y="5399"/>
                  <a:pt x="2013" y="5376"/>
                </a:cubicBezTo>
                <a:cubicBezTo>
                  <a:pt x="2013" y="5352"/>
                  <a:pt x="1993" y="5332"/>
                  <a:pt x="1969" y="5332"/>
                </a:cubicBezTo>
                <a:close/>
                <a:moveTo>
                  <a:pt x="1851" y="5518"/>
                </a:moveTo>
                <a:cubicBezTo>
                  <a:pt x="1830" y="5518"/>
                  <a:pt x="1813" y="5535"/>
                  <a:pt x="1813" y="5556"/>
                </a:cubicBezTo>
                <a:cubicBezTo>
                  <a:pt x="1813" y="5577"/>
                  <a:pt x="1830" y="5594"/>
                  <a:pt x="1851" y="5594"/>
                </a:cubicBezTo>
                <a:cubicBezTo>
                  <a:pt x="1872" y="5594"/>
                  <a:pt x="1890" y="5577"/>
                  <a:pt x="1890" y="5556"/>
                </a:cubicBezTo>
                <a:cubicBezTo>
                  <a:pt x="1890" y="5535"/>
                  <a:pt x="1872" y="5518"/>
                  <a:pt x="1851" y="5518"/>
                </a:cubicBezTo>
                <a:close/>
                <a:moveTo>
                  <a:pt x="1724" y="5697"/>
                </a:moveTo>
                <a:cubicBezTo>
                  <a:pt x="1706" y="5697"/>
                  <a:pt x="1691" y="5711"/>
                  <a:pt x="1691" y="5729"/>
                </a:cubicBezTo>
                <a:cubicBezTo>
                  <a:pt x="1691" y="5747"/>
                  <a:pt x="1706" y="5762"/>
                  <a:pt x="1724" y="5762"/>
                </a:cubicBezTo>
                <a:cubicBezTo>
                  <a:pt x="1742" y="5762"/>
                  <a:pt x="1756" y="5747"/>
                  <a:pt x="1756" y="5729"/>
                </a:cubicBezTo>
                <a:cubicBezTo>
                  <a:pt x="1756" y="5711"/>
                  <a:pt x="1742" y="5697"/>
                  <a:pt x="1724" y="5697"/>
                </a:cubicBezTo>
                <a:close/>
                <a:moveTo>
                  <a:pt x="1587" y="5868"/>
                </a:moveTo>
                <a:cubicBezTo>
                  <a:pt x="1572" y="5868"/>
                  <a:pt x="1559" y="5881"/>
                  <a:pt x="1559" y="5896"/>
                </a:cubicBezTo>
                <a:cubicBezTo>
                  <a:pt x="1559" y="5911"/>
                  <a:pt x="1572" y="5923"/>
                  <a:pt x="1587" y="5923"/>
                </a:cubicBezTo>
                <a:cubicBezTo>
                  <a:pt x="1602" y="5923"/>
                  <a:pt x="1614" y="5911"/>
                  <a:pt x="1614" y="5896"/>
                </a:cubicBezTo>
                <a:cubicBezTo>
                  <a:pt x="1614" y="5881"/>
                  <a:pt x="1602" y="5868"/>
                  <a:pt x="1587" y="5868"/>
                </a:cubicBezTo>
                <a:close/>
                <a:moveTo>
                  <a:pt x="1441" y="6033"/>
                </a:moveTo>
                <a:cubicBezTo>
                  <a:pt x="1429" y="6033"/>
                  <a:pt x="1420" y="6042"/>
                  <a:pt x="1420" y="6054"/>
                </a:cubicBezTo>
                <a:cubicBezTo>
                  <a:pt x="1420" y="6066"/>
                  <a:pt x="1429" y="6075"/>
                  <a:pt x="1441" y="6075"/>
                </a:cubicBezTo>
                <a:cubicBezTo>
                  <a:pt x="1453" y="6075"/>
                  <a:pt x="1462" y="6066"/>
                  <a:pt x="1462" y="6054"/>
                </a:cubicBezTo>
                <a:cubicBezTo>
                  <a:pt x="1462" y="6042"/>
                  <a:pt x="1453" y="6033"/>
                  <a:pt x="1441" y="6033"/>
                </a:cubicBezTo>
                <a:close/>
                <a:moveTo>
                  <a:pt x="1287" y="6189"/>
                </a:moveTo>
                <a:cubicBezTo>
                  <a:pt x="1278" y="6189"/>
                  <a:pt x="1271" y="6196"/>
                  <a:pt x="1271" y="6204"/>
                </a:cubicBezTo>
                <a:cubicBezTo>
                  <a:pt x="1271" y="6213"/>
                  <a:pt x="1278" y="6220"/>
                  <a:pt x="1287" y="6220"/>
                </a:cubicBezTo>
                <a:cubicBezTo>
                  <a:pt x="1295" y="6220"/>
                  <a:pt x="1302" y="6213"/>
                  <a:pt x="1302" y="6204"/>
                </a:cubicBezTo>
                <a:cubicBezTo>
                  <a:pt x="1302" y="6196"/>
                  <a:pt x="1295" y="6189"/>
                  <a:pt x="1287" y="6189"/>
                </a:cubicBezTo>
                <a:close/>
                <a:moveTo>
                  <a:pt x="1124" y="6336"/>
                </a:moveTo>
                <a:cubicBezTo>
                  <a:pt x="1119" y="6336"/>
                  <a:pt x="1114" y="6340"/>
                  <a:pt x="1114" y="6346"/>
                </a:cubicBezTo>
                <a:cubicBezTo>
                  <a:pt x="1114" y="6351"/>
                  <a:pt x="1119" y="6356"/>
                  <a:pt x="1124" y="6356"/>
                </a:cubicBezTo>
                <a:cubicBezTo>
                  <a:pt x="1129" y="6356"/>
                  <a:pt x="1134" y="6351"/>
                  <a:pt x="1134" y="6346"/>
                </a:cubicBezTo>
                <a:cubicBezTo>
                  <a:pt x="1134" y="6340"/>
                  <a:pt x="1129" y="6336"/>
                  <a:pt x="1124" y="6336"/>
                </a:cubicBezTo>
                <a:close/>
                <a:moveTo>
                  <a:pt x="954" y="6472"/>
                </a:moveTo>
                <a:cubicBezTo>
                  <a:pt x="951" y="6472"/>
                  <a:pt x="948" y="6475"/>
                  <a:pt x="948" y="6478"/>
                </a:cubicBezTo>
                <a:cubicBezTo>
                  <a:pt x="948" y="6481"/>
                  <a:pt x="951" y="6484"/>
                  <a:pt x="954" y="6484"/>
                </a:cubicBezTo>
                <a:cubicBezTo>
                  <a:pt x="957" y="6484"/>
                  <a:pt x="960" y="6481"/>
                  <a:pt x="960" y="6478"/>
                </a:cubicBezTo>
                <a:cubicBezTo>
                  <a:pt x="960" y="6475"/>
                  <a:pt x="957" y="6472"/>
                  <a:pt x="954" y="6472"/>
                </a:cubicBezTo>
                <a:close/>
                <a:moveTo>
                  <a:pt x="777" y="6598"/>
                </a:moveTo>
                <a:cubicBezTo>
                  <a:pt x="776" y="6598"/>
                  <a:pt x="774" y="6599"/>
                  <a:pt x="774" y="6601"/>
                </a:cubicBezTo>
                <a:cubicBezTo>
                  <a:pt x="774" y="6602"/>
                  <a:pt x="776" y="6604"/>
                  <a:pt x="777" y="6604"/>
                </a:cubicBezTo>
                <a:cubicBezTo>
                  <a:pt x="779" y="6604"/>
                  <a:pt x="780" y="6602"/>
                  <a:pt x="780" y="6601"/>
                </a:cubicBezTo>
                <a:cubicBezTo>
                  <a:pt x="780" y="6599"/>
                  <a:pt x="779" y="6598"/>
                  <a:pt x="777" y="6598"/>
                </a:cubicBezTo>
                <a:close/>
                <a:moveTo>
                  <a:pt x="777" y="58"/>
                </a:moveTo>
                <a:cubicBezTo>
                  <a:pt x="778" y="58"/>
                  <a:pt x="778" y="57"/>
                  <a:pt x="778" y="57"/>
                </a:cubicBezTo>
                <a:cubicBezTo>
                  <a:pt x="778" y="56"/>
                  <a:pt x="778" y="55"/>
                  <a:pt x="777" y="55"/>
                </a:cubicBezTo>
                <a:cubicBezTo>
                  <a:pt x="777" y="55"/>
                  <a:pt x="776" y="56"/>
                  <a:pt x="776" y="57"/>
                </a:cubicBezTo>
                <a:cubicBezTo>
                  <a:pt x="776" y="57"/>
                  <a:pt x="777" y="58"/>
                  <a:pt x="777" y="58"/>
                </a:cubicBezTo>
                <a:close/>
                <a:moveTo>
                  <a:pt x="954" y="181"/>
                </a:moveTo>
                <a:cubicBezTo>
                  <a:pt x="955" y="181"/>
                  <a:pt x="956" y="180"/>
                  <a:pt x="956" y="179"/>
                </a:cubicBezTo>
                <a:cubicBezTo>
                  <a:pt x="956" y="178"/>
                  <a:pt x="955" y="178"/>
                  <a:pt x="954" y="178"/>
                </a:cubicBezTo>
                <a:cubicBezTo>
                  <a:pt x="953" y="178"/>
                  <a:pt x="952" y="178"/>
                  <a:pt x="952" y="179"/>
                </a:cubicBezTo>
                <a:cubicBezTo>
                  <a:pt x="952" y="180"/>
                  <a:pt x="953" y="181"/>
                  <a:pt x="954" y="181"/>
                </a:cubicBezTo>
                <a:close/>
                <a:moveTo>
                  <a:pt x="1124" y="313"/>
                </a:moveTo>
                <a:cubicBezTo>
                  <a:pt x="1125" y="313"/>
                  <a:pt x="1126" y="313"/>
                  <a:pt x="1126" y="312"/>
                </a:cubicBezTo>
                <a:cubicBezTo>
                  <a:pt x="1126" y="311"/>
                  <a:pt x="1125" y="310"/>
                  <a:pt x="1124" y="310"/>
                </a:cubicBezTo>
                <a:cubicBezTo>
                  <a:pt x="1123" y="310"/>
                  <a:pt x="1122" y="311"/>
                  <a:pt x="1122" y="312"/>
                </a:cubicBezTo>
                <a:cubicBezTo>
                  <a:pt x="1122" y="313"/>
                  <a:pt x="1123" y="313"/>
                  <a:pt x="1124" y="313"/>
                </a:cubicBezTo>
                <a:close/>
                <a:moveTo>
                  <a:pt x="1287" y="455"/>
                </a:moveTo>
                <a:cubicBezTo>
                  <a:pt x="1288" y="455"/>
                  <a:pt x="1289" y="454"/>
                  <a:pt x="1289" y="453"/>
                </a:cubicBezTo>
                <a:cubicBezTo>
                  <a:pt x="1289" y="452"/>
                  <a:pt x="1288" y="451"/>
                  <a:pt x="1287" y="451"/>
                </a:cubicBezTo>
                <a:cubicBezTo>
                  <a:pt x="1285" y="451"/>
                  <a:pt x="1284" y="452"/>
                  <a:pt x="1284" y="453"/>
                </a:cubicBezTo>
                <a:cubicBezTo>
                  <a:pt x="1284" y="454"/>
                  <a:pt x="1285" y="455"/>
                  <a:pt x="1287" y="455"/>
                </a:cubicBezTo>
                <a:close/>
                <a:moveTo>
                  <a:pt x="1441" y="606"/>
                </a:moveTo>
                <a:cubicBezTo>
                  <a:pt x="1443" y="606"/>
                  <a:pt x="1444" y="605"/>
                  <a:pt x="1444" y="603"/>
                </a:cubicBezTo>
                <a:cubicBezTo>
                  <a:pt x="1444" y="602"/>
                  <a:pt x="1443" y="600"/>
                  <a:pt x="1441" y="600"/>
                </a:cubicBezTo>
                <a:cubicBezTo>
                  <a:pt x="1439" y="600"/>
                  <a:pt x="1438" y="602"/>
                  <a:pt x="1438" y="603"/>
                </a:cubicBezTo>
                <a:cubicBezTo>
                  <a:pt x="1438" y="605"/>
                  <a:pt x="1439" y="606"/>
                  <a:pt x="1441" y="606"/>
                </a:cubicBezTo>
                <a:close/>
                <a:moveTo>
                  <a:pt x="1587" y="766"/>
                </a:moveTo>
                <a:cubicBezTo>
                  <a:pt x="1589" y="766"/>
                  <a:pt x="1591" y="764"/>
                  <a:pt x="1591" y="762"/>
                </a:cubicBezTo>
                <a:cubicBezTo>
                  <a:pt x="1591" y="760"/>
                  <a:pt x="1589" y="758"/>
                  <a:pt x="1587" y="758"/>
                </a:cubicBezTo>
                <a:cubicBezTo>
                  <a:pt x="1585" y="758"/>
                  <a:pt x="1583" y="760"/>
                  <a:pt x="1583" y="762"/>
                </a:cubicBezTo>
                <a:cubicBezTo>
                  <a:pt x="1583" y="764"/>
                  <a:pt x="1585" y="766"/>
                  <a:pt x="1587" y="766"/>
                </a:cubicBezTo>
                <a:close/>
                <a:moveTo>
                  <a:pt x="1724" y="934"/>
                </a:moveTo>
                <a:cubicBezTo>
                  <a:pt x="1727" y="934"/>
                  <a:pt x="1729" y="931"/>
                  <a:pt x="1729" y="928"/>
                </a:cubicBezTo>
                <a:cubicBezTo>
                  <a:pt x="1729" y="925"/>
                  <a:pt x="1727" y="922"/>
                  <a:pt x="1724" y="922"/>
                </a:cubicBezTo>
                <a:cubicBezTo>
                  <a:pt x="1721" y="922"/>
                  <a:pt x="1718" y="925"/>
                  <a:pt x="1718" y="928"/>
                </a:cubicBezTo>
                <a:cubicBezTo>
                  <a:pt x="1718" y="931"/>
                  <a:pt x="1721" y="934"/>
                  <a:pt x="1724" y="934"/>
                </a:cubicBezTo>
                <a:close/>
                <a:moveTo>
                  <a:pt x="1851" y="1111"/>
                </a:moveTo>
                <a:cubicBezTo>
                  <a:pt x="1857" y="1111"/>
                  <a:pt x="1861" y="1107"/>
                  <a:pt x="1861" y="1102"/>
                </a:cubicBezTo>
                <a:cubicBezTo>
                  <a:pt x="1861" y="1096"/>
                  <a:pt x="1857" y="1092"/>
                  <a:pt x="1851" y="1092"/>
                </a:cubicBezTo>
                <a:cubicBezTo>
                  <a:pt x="1846" y="1092"/>
                  <a:pt x="1842" y="1096"/>
                  <a:pt x="1842" y="1102"/>
                </a:cubicBezTo>
                <a:cubicBezTo>
                  <a:pt x="1842" y="1107"/>
                  <a:pt x="1846" y="1111"/>
                  <a:pt x="1851" y="1111"/>
                </a:cubicBezTo>
                <a:close/>
                <a:moveTo>
                  <a:pt x="1969" y="1297"/>
                </a:moveTo>
                <a:cubicBezTo>
                  <a:pt x="1977" y="1297"/>
                  <a:pt x="1984" y="1290"/>
                  <a:pt x="1984" y="1282"/>
                </a:cubicBezTo>
                <a:cubicBezTo>
                  <a:pt x="1984" y="1274"/>
                  <a:pt x="1977" y="1267"/>
                  <a:pt x="1969" y="1267"/>
                </a:cubicBezTo>
                <a:cubicBezTo>
                  <a:pt x="1961" y="1267"/>
                  <a:pt x="1954" y="1274"/>
                  <a:pt x="1954" y="1282"/>
                </a:cubicBezTo>
                <a:cubicBezTo>
                  <a:pt x="1954" y="1290"/>
                  <a:pt x="1961" y="1297"/>
                  <a:pt x="1969" y="1297"/>
                </a:cubicBezTo>
                <a:close/>
                <a:moveTo>
                  <a:pt x="2077" y="1490"/>
                </a:moveTo>
                <a:cubicBezTo>
                  <a:pt x="2089" y="1490"/>
                  <a:pt x="2098" y="1480"/>
                  <a:pt x="2098" y="1468"/>
                </a:cubicBezTo>
                <a:cubicBezTo>
                  <a:pt x="2098" y="1457"/>
                  <a:pt x="2089" y="1447"/>
                  <a:pt x="2077" y="1447"/>
                </a:cubicBezTo>
                <a:cubicBezTo>
                  <a:pt x="2065" y="1447"/>
                  <a:pt x="2056" y="1457"/>
                  <a:pt x="2056" y="1468"/>
                </a:cubicBezTo>
                <a:cubicBezTo>
                  <a:pt x="2056" y="1480"/>
                  <a:pt x="2065" y="1490"/>
                  <a:pt x="2077" y="1490"/>
                </a:cubicBezTo>
                <a:close/>
                <a:moveTo>
                  <a:pt x="2174" y="1688"/>
                </a:moveTo>
                <a:cubicBezTo>
                  <a:pt x="2189" y="1688"/>
                  <a:pt x="2201" y="1676"/>
                  <a:pt x="2201" y="1661"/>
                </a:cubicBezTo>
                <a:cubicBezTo>
                  <a:pt x="2201" y="1646"/>
                  <a:pt x="2189" y="1633"/>
                  <a:pt x="2174" y="1633"/>
                </a:cubicBezTo>
                <a:cubicBezTo>
                  <a:pt x="2159" y="1633"/>
                  <a:pt x="2147" y="1646"/>
                  <a:pt x="2147" y="1661"/>
                </a:cubicBezTo>
                <a:cubicBezTo>
                  <a:pt x="2147" y="1676"/>
                  <a:pt x="2159" y="1688"/>
                  <a:pt x="2174" y="1688"/>
                </a:cubicBezTo>
                <a:close/>
                <a:moveTo>
                  <a:pt x="2261" y="1890"/>
                </a:moveTo>
                <a:cubicBezTo>
                  <a:pt x="2278" y="1890"/>
                  <a:pt x="2293" y="1876"/>
                  <a:pt x="2293" y="1858"/>
                </a:cubicBezTo>
                <a:cubicBezTo>
                  <a:pt x="2293" y="1840"/>
                  <a:pt x="2278" y="1826"/>
                  <a:pt x="2261" y="1826"/>
                </a:cubicBezTo>
                <a:cubicBezTo>
                  <a:pt x="2243" y="1826"/>
                  <a:pt x="2229" y="1840"/>
                  <a:pt x="2229" y="1858"/>
                </a:cubicBezTo>
                <a:cubicBezTo>
                  <a:pt x="2229" y="1876"/>
                  <a:pt x="2243" y="1890"/>
                  <a:pt x="2261" y="1890"/>
                </a:cubicBezTo>
                <a:close/>
                <a:moveTo>
                  <a:pt x="2336" y="2094"/>
                </a:moveTo>
                <a:cubicBezTo>
                  <a:pt x="2355" y="2094"/>
                  <a:pt x="2371" y="2079"/>
                  <a:pt x="2371" y="2060"/>
                </a:cubicBezTo>
                <a:cubicBezTo>
                  <a:pt x="2371" y="2040"/>
                  <a:pt x="2355" y="2025"/>
                  <a:pt x="2336" y="2025"/>
                </a:cubicBezTo>
                <a:cubicBezTo>
                  <a:pt x="2317" y="2025"/>
                  <a:pt x="2301" y="2040"/>
                  <a:pt x="2301" y="2060"/>
                </a:cubicBezTo>
                <a:cubicBezTo>
                  <a:pt x="2301" y="2079"/>
                  <a:pt x="2317" y="2094"/>
                  <a:pt x="2336" y="2094"/>
                </a:cubicBezTo>
                <a:close/>
                <a:moveTo>
                  <a:pt x="2400" y="2303"/>
                </a:moveTo>
                <a:cubicBezTo>
                  <a:pt x="2421" y="2303"/>
                  <a:pt x="2438" y="2286"/>
                  <a:pt x="2438" y="2265"/>
                </a:cubicBezTo>
                <a:cubicBezTo>
                  <a:pt x="2438" y="2244"/>
                  <a:pt x="2421" y="2228"/>
                  <a:pt x="2400" y="2228"/>
                </a:cubicBezTo>
                <a:cubicBezTo>
                  <a:pt x="2380" y="2228"/>
                  <a:pt x="2363" y="2244"/>
                  <a:pt x="2363" y="2265"/>
                </a:cubicBezTo>
                <a:cubicBezTo>
                  <a:pt x="2363" y="2286"/>
                  <a:pt x="2380" y="2303"/>
                  <a:pt x="2400" y="2303"/>
                </a:cubicBezTo>
                <a:close/>
                <a:moveTo>
                  <a:pt x="2412" y="2474"/>
                </a:moveTo>
                <a:cubicBezTo>
                  <a:pt x="2412" y="2497"/>
                  <a:pt x="2431" y="2515"/>
                  <a:pt x="2453" y="2515"/>
                </a:cubicBezTo>
                <a:cubicBezTo>
                  <a:pt x="2476" y="2515"/>
                  <a:pt x="2494" y="2497"/>
                  <a:pt x="2494" y="2474"/>
                </a:cubicBezTo>
                <a:cubicBezTo>
                  <a:pt x="2494" y="2451"/>
                  <a:pt x="2476" y="2433"/>
                  <a:pt x="2453" y="2433"/>
                </a:cubicBezTo>
                <a:cubicBezTo>
                  <a:pt x="2431" y="2433"/>
                  <a:pt x="2412" y="2451"/>
                  <a:pt x="2412" y="2474"/>
                </a:cubicBezTo>
                <a:close/>
                <a:moveTo>
                  <a:pt x="2449" y="2685"/>
                </a:moveTo>
                <a:cubicBezTo>
                  <a:pt x="2449" y="2711"/>
                  <a:pt x="2469" y="2731"/>
                  <a:pt x="2495" y="2731"/>
                </a:cubicBezTo>
                <a:cubicBezTo>
                  <a:pt x="2520" y="2731"/>
                  <a:pt x="2540" y="2711"/>
                  <a:pt x="2540" y="2685"/>
                </a:cubicBezTo>
                <a:cubicBezTo>
                  <a:pt x="2540" y="2660"/>
                  <a:pt x="2520" y="2640"/>
                  <a:pt x="2495" y="2640"/>
                </a:cubicBezTo>
                <a:cubicBezTo>
                  <a:pt x="2469" y="2640"/>
                  <a:pt x="2449" y="2660"/>
                  <a:pt x="2449" y="2685"/>
                </a:cubicBezTo>
                <a:close/>
                <a:moveTo>
                  <a:pt x="2524" y="2847"/>
                </a:moveTo>
                <a:cubicBezTo>
                  <a:pt x="2496" y="2847"/>
                  <a:pt x="2472" y="2870"/>
                  <a:pt x="2472" y="2899"/>
                </a:cubicBezTo>
                <a:cubicBezTo>
                  <a:pt x="2472" y="2927"/>
                  <a:pt x="2496" y="2951"/>
                  <a:pt x="2524" y="2951"/>
                </a:cubicBezTo>
                <a:cubicBezTo>
                  <a:pt x="2553" y="2951"/>
                  <a:pt x="2576" y="2927"/>
                  <a:pt x="2576" y="2899"/>
                </a:cubicBezTo>
                <a:cubicBezTo>
                  <a:pt x="2576" y="2870"/>
                  <a:pt x="2553" y="2847"/>
                  <a:pt x="2524" y="2847"/>
                </a:cubicBezTo>
                <a:close/>
                <a:moveTo>
                  <a:pt x="2484" y="3113"/>
                </a:moveTo>
                <a:cubicBezTo>
                  <a:pt x="2484" y="3145"/>
                  <a:pt x="2510" y="3171"/>
                  <a:pt x="2542" y="3171"/>
                </a:cubicBezTo>
                <a:cubicBezTo>
                  <a:pt x="2574" y="3171"/>
                  <a:pt x="2600" y="3145"/>
                  <a:pt x="2600" y="3113"/>
                </a:cubicBezTo>
                <a:cubicBezTo>
                  <a:pt x="2600" y="3082"/>
                  <a:pt x="2574" y="3056"/>
                  <a:pt x="2542" y="3056"/>
                </a:cubicBezTo>
                <a:cubicBezTo>
                  <a:pt x="2510" y="3056"/>
                  <a:pt x="2484" y="3082"/>
                  <a:pt x="2484" y="3113"/>
                </a:cubicBezTo>
                <a:close/>
                <a:moveTo>
                  <a:pt x="2754" y="3298"/>
                </a:moveTo>
                <a:cubicBezTo>
                  <a:pt x="2737" y="3298"/>
                  <a:pt x="2723" y="3312"/>
                  <a:pt x="2723" y="3329"/>
                </a:cubicBezTo>
                <a:cubicBezTo>
                  <a:pt x="2723" y="3346"/>
                  <a:pt x="2737" y="3360"/>
                  <a:pt x="2754" y="3360"/>
                </a:cubicBezTo>
                <a:cubicBezTo>
                  <a:pt x="2771" y="3360"/>
                  <a:pt x="2784" y="3346"/>
                  <a:pt x="2784" y="3329"/>
                </a:cubicBezTo>
                <a:cubicBezTo>
                  <a:pt x="2784" y="3312"/>
                  <a:pt x="2771" y="3298"/>
                  <a:pt x="2754" y="3298"/>
                </a:cubicBezTo>
                <a:close/>
                <a:moveTo>
                  <a:pt x="2748" y="3508"/>
                </a:moveTo>
                <a:cubicBezTo>
                  <a:pt x="2728" y="3508"/>
                  <a:pt x="2712" y="3524"/>
                  <a:pt x="2712" y="3544"/>
                </a:cubicBezTo>
                <a:cubicBezTo>
                  <a:pt x="2712" y="3564"/>
                  <a:pt x="2728" y="3580"/>
                  <a:pt x="2748" y="3580"/>
                </a:cubicBezTo>
                <a:cubicBezTo>
                  <a:pt x="2768" y="3580"/>
                  <a:pt x="2784" y="3564"/>
                  <a:pt x="2784" y="3544"/>
                </a:cubicBezTo>
                <a:cubicBezTo>
                  <a:pt x="2784" y="3524"/>
                  <a:pt x="2768" y="3508"/>
                  <a:pt x="2748" y="3508"/>
                </a:cubicBezTo>
                <a:close/>
                <a:moveTo>
                  <a:pt x="2731" y="3722"/>
                </a:moveTo>
                <a:cubicBezTo>
                  <a:pt x="2711" y="3722"/>
                  <a:pt x="2694" y="3738"/>
                  <a:pt x="2694" y="3759"/>
                </a:cubicBezTo>
                <a:cubicBezTo>
                  <a:pt x="2694" y="3779"/>
                  <a:pt x="2711" y="3796"/>
                  <a:pt x="2731" y="3796"/>
                </a:cubicBezTo>
                <a:cubicBezTo>
                  <a:pt x="2752" y="3796"/>
                  <a:pt x="2768" y="3779"/>
                  <a:pt x="2768" y="3759"/>
                </a:cubicBezTo>
                <a:cubicBezTo>
                  <a:pt x="2768" y="3738"/>
                  <a:pt x="2752" y="3722"/>
                  <a:pt x="2731" y="3722"/>
                </a:cubicBezTo>
                <a:close/>
                <a:moveTo>
                  <a:pt x="2703" y="3931"/>
                </a:moveTo>
                <a:cubicBezTo>
                  <a:pt x="2680" y="3931"/>
                  <a:pt x="2662" y="3950"/>
                  <a:pt x="2662" y="3972"/>
                </a:cubicBezTo>
                <a:cubicBezTo>
                  <a:pt x="2662" y="3995"/>
                  <a:pt x="2680" y="4013"/>
                  <a:pt x="2703" y="4013"/>
                </a:cubicBezTo>
                <a:cubicBezTo>
                  <a:pt x="2726" y="4013"/>
                  <a:pt x="2744" y="3995"/>
                  <a:pt x="2744" y="3972"/>
                </a:cubicBezTo>
                <a:cubicBezTo>
                  <a:pt x="2744" y="3950"/>
                  <a:pt x="2726" y="3931"/>
                  <a:pt x="2703" y="3931"/>
                </a:cubicBezTo>
                <a:close/>
                <a:moveTo>
                  <a:pt x="2664" y="4142"/>
                </a:moveTo>
                <a:cubicBezTo>
                  <a:pt x="2641" y="4142"/>
                  <a:pt x="2622" y="4161"/>
                  <a:pt x="2622" y="4184"/>
                </a:cubicBezTo>
                <a:cubicBezTo>
                  <a:pt x="2622" y="4207"/>
                  <a:pt x="2641" y="4226"/>
                  <a:pt x="2664" y="4226"/>
                </a:cubicBezTo>
                <a:cubicBezTo>
                  <a:pt x="2687" y="4226"/>
                  <a:pt x="2705" y="4207"/>
                  <a:pt x="2705" y="4184"/>
                </a:cubicBezTo>
                <a:cubicBezTo>
                  <a:pt x="2705" y="4161"/>
                  <a:pt x="2687" y="4142"/>
                  <a:pt x="2664" y="4142"/>
                </a:cubicBezTo>
                <a:close/>
                <a:moveTo>
                  <a:pt x="2613" y="4351"/>
                </a:moveTo>
                <a:cubicBezTo>
                  <a:pt x="2590" y="4351"/>
                  <a:pt x="2571" y="4370"/>
                  <a:pt x="2571" y="4394"/>
                </a:cubicBezTo>
                <a:cubicBezTo>
                  <a:pt x="2571" y="4417"/>
                  <a:pt x="2590" y="4436"/>
                  <a:pt x="2613" y="4436"/>
                </a:cubicBezTo>
                <a:cubicBezTo>
                  <a:pt x="2637" y="4436"/>
                  <a:pt x="2656" y="4417"/>
                  <a:pt x="2656" y="4394"/>
                </a:cubicBezTo>
                <a:cubicBezTo>
                  <a:pt x="2656" y="4370"/>
                  <a:pt x="2637" y="4351"/>
                  <a:pt x="2613" y="4351"/>
                </a:cubicBezTo>
                <a:close/>
                <a:moveTo>
                  <a:pt x="2552" y="4557"/>
                </a:moveTo>
                <a:cubicBezTo>
                  <a:pt x="2528" y="4557"/>
                  <a:pt x="2509" y="4576"/>
                  <a:pt x="2509" y="4600"/>
                </a:cubicBezTo>
                <a:cubicBezTo>
                  <a:pt x="2509" y="4624"/>
                  <a:pt x="2528" y="4643"/>
                  <a:pt x="2552" y="4643"/>
                </a:cubicBezTo>
                <a:cubicBezTo>
                  <a:pt x="2576" y="4643"/>
                  <a:pt x="2596" y="4624"/>
                  <a:pt x="2596" y="4600"/>
                </a:cubicBezTo>
                <a:cubicBezTo>
                  <a:pt x="2596" y="4576"/>
                  <a:pt x="2576" y="4557"/>
                  <a:pt x="2552" y="4557"/>
                </a:cubicBezTo>
                <a:close/>
                <a:moveTo>
                  <a:pt x="2480" y="4761"/>
                </a:moveTo>
                <a:cubicBezTo>
                  <a:pt x="2457" y="4761"/>
                  <a:pt x="2439" y="4780"/>
                  <a:pt x="2439" y="4803"/>
                </a:cubicBezTo>
                <a:cubicBezTo>
                  <a:pt x="2439" y="4826"/>
                  <a:pt x="2457" y="4845"/>
                  <a:pt x="2480" y="4845"/>
                </a:cubicBezTo>
                <a:cubicBezTo>
                  <a:pt x="2503" y="4845"/>
                  <a:pt x="2522" y="4826"/>
                  <a:pt x="2522" y="4803"/>
                </a:cubicBezTo>
                <a:cubicBezTo>
                  <a:pt x="2522" y="4780"/>
                  <a:pt x="2503" y="4761"/>
                  <a:pt x="2480" y="4761"/>
                </a:cubicBezTo>
                <a:close/>
                <a:moveTo>
                  <a:pt x="2398" y="4961"/>
                </a:moveTo>
                <a:cubicBezTo>
                  <a:pt x="2375" y="4961"/>
                  <a:pt x="2357" y="4979"/>
                  <a:pt x="2357" y="5002"/>
                </a:cubicBezTo>
                <a:cubicBezTo>
                  <a:pt x="2357" y="5025"/>
                  <a:pt x="2375" y="5043"/>
                  <a:pt x="2398" y="5043"/>
                </a:cubicBezTo>
                <a:cubicBezTo>
                  <a:pt x="2421" y="5043"/>
                  <a:pt x="2439" y="5025"/>
                  <a:pt x="2439" y="5002"/>
                </a:cubicBezTo>
                <a:cubicBezTo>
                  <a:pt x="2439" y="4979"/>
                  <a:pt x="2421" y="4961"/>
                  <a:pt x="2398" y="4961"/>
                </a:cubicBezTo>
                <a:close/>
                <a:moveTo>
                  <a:pt x="2305" y="5157"/>
                </a:moveTo>
                <a:cubicBezTo>
                  <a:pt x="2283" y="5157"/>
                  <a:pt x="2265" y="5175"/>
                  <a:pt x="2265" y="5197"/>
                </a:cubicBezTo>
                <a:cubicBezTo>
                  <a:pt x="2265" y="5219"/>
                  <a:pt x="2283" y="5236"/>
                  <a:pt x="2305" y="5236"/>
                </a:cubicBezTo>
                <a:cubicBezTo>
                  <a:pt x="2327" y="5236"/>
                  <a:pt x="2345" y="5219"/>
                  <a:pt x="2345" y="5197"/>
                </a:cubicBezTo>
                <a:cubicBezTo>
                  <a:pt x="2345" y="5175"/>
                  <a:pt x="2327" y="5157"/>
                  <a:pt x="2305" y="5157"/>
                </a:cubicBezTo>
                <a:close/>
                <a:moveTo>
                  <a:pt x="2202" y="5348"/>
                </a:moveTo>
                <a:cubicBezTo>
                  <a:pt x="2182" y="5348"/>
                  <a:pt x="2165" y="5365"/>
                  <a:pt x="2165" y="5386"/>
                </a:cubicBezTo>
                <a:cubicBezTo>
                  <a:pt x="2165" y="5407"/>
                  <a:pt x="2182" y="5424"/>
                  <a:pt x="2202" y="5424"/>
                </a:cubicBezTo>
                <a:cubicBezTo>
                  <a:pt x="2223" y="5424"/>
                  <a:pt x="2240" y="5407"/>
                  <a:pt x="2240" y="5386"/>
                </a:cubicBezTo>
                <a:cubicBezTo>
                  <a:pt x="2240" y="5365"/>
                  <a:pt x="2223" y="5348"/>
                  <a:pt x="2202" y="5348"/>
                </a:cubicBezTo>
                <a:close/>
                <a:moveTo>
                  <a:pt x="2090" y="5534"/>
                </a:moveTo>
                <a:cubicBezTo>
                  <a:pt x="2070" y="5534"/>
                  <a:pt x="2055" y="5550"/>
                  <a:pt x="2055" y="5570"/>
                </a:cubicBezTo>
                <a:cubicBezTo>
                  <a:pt x="2055" y="5589"/>
                  <a:pt x="2070" y="5605"/>
                  <a:pt x="2090" y="5605"/>
                </a:cubicBezTo>
                <a:cubicBezTo>
                  <a:pt x="2109" y="5605"/>
                  <a:pt x="2125" y="5589"/>
                  <a:pt x="2125" y="5570"/>
                </a:cubicBezTo>
                <a:cubicBezTo>
                  <a:pt x="2125" y="5550"/>
                  <a:pt x="2109" y="5534"/>
                  <a:pt x="2090" y="5534"/>
                </a:cubicBezTo>
                <a:close/>
                <a:moveTo>
                  <a:pt x="1968" y="5714"/>
                </a:moveTo>
                <a:cubicBezTo>
                  <a:pt x="1950" y="5714"/>
                  <a:pt x="1935" y="5729"/>
                  <a:pt x="1935" y="5747"/>
                </a:cubicBezTo>
                <a:cubicBezTo>
                  <a:pt x="1935" y="5765"/>
                  <a:pt x="1950" y="5780"/>
                  <a:pt x="1968" y="5780"/>
                </a:cubicBezTo>
                <a:cubicBezTo>
                  <a:pt x="1986" y="5780"/>
                  <a:pt x="2001" y="5765"/>
                  <a:pt x="2001" y="5747"/>
                </a:cubicBezTo>
                <a:cubicBezTo>
                  <a:pt x="2001" y="5729"/>
                  <a:pt x="1986" y="5714"/>
                  <a:pt x="1968" y="5714"/>
                </a:cubicBezTo>
                <a:close/>
                <a:moveTo>
                  <a:pt x="1837" y="5888"/>
                </a:moveTo>
                <a:cubicBezTo>
                  <a:pt x="1820" y="5888"/>
                  <a:pt x="1807" y="5901"/>
                  <a:pt x="1807" y="5918"/>
                </a:cubicBezTo>
                <a:cubicBezTo>
                  <a:pt x="1807" y="5935"/>
                  <a:pt x="1820" y="5948"/>
                  <a:pt x="1837" y="5948"/>
                </a:cubicBezTo>
                <a:cubicBezTo>
                  <a:pt x="1853" y="5948"/>
                  <a:pt x="1867" y="5935"/>
                  <a:pt x="1867" y="5918"/>
                </a:cubicBezTo>
                <a:cubicBezTo>
                  <a:pt x="1867" y="5901"/>
                  <a:pt x="1853" y="5888"/>
                  <a:pt x="1837" y="5888"/>
                </a:cubicBezTo>
                <a:close/>
                <a:moveTo>
                  <a:pt x="1697" y="6057"/>
                </a:moveTo>
                <a:cubicBezTo>
                  <a:pt x="1683" y="6057"/>
                  <a:pt x="1672" y="6068"/>
                  <a:pt x="1672" y="6082"/>
                </a:cubicBezTo>
                <a:cubicBezTo>
                  <a:pt x="1672" y="6096"/>
                  <a:pt x="1683" y="6107"/>
                  <a:pt x="1697" y="6107"/>
                </a:cubicBezTo>
                <a:cubicBezTo>
                  <a:pt x="1711" y="6107"/>
                  <a:pt x="1722" y="6096"/>
                  <a:pt x="1722" y="6082"/>
                </a:cubicBezTo>
                <a:cubicBezTo>
                  <a:pt x="1722" y="6068"/>
                  <a:pt x="1711" y="6057"/>
                  <a:pt x="1697" y="6057"/>
                </a:cubicBezTo>
                <a:close/>
                <a:moveTo>
                  <a:pt x="1549" y="6217"/>
                </a:moveTo>
                <a:cubicBezTo>
                  <a:pt x="1537" y="6217"/>
                  <a:pt x="1527" y="6226"/>
                  <a:pt x="1527" y="6238"/>
                </a:cubicBezTo>
                <a:cubicBezTo>
                  <a:pt x="1527" y="6250"/>
                  <a:pt x="1537" y="6259"/>
                  <a:pt x="1549" y="6259"/>
                </a:cubicBezTo>
                <a:cubicBezTo>
                  <a:pt x="1560" y="6259"/>
                  <a:pt x="1570" y="6250"/>
                  <a:pt x="1570" y="6238"/>
                </a:cubicBezTo>
                <a:cubicBezTo>
                  <a:pt x="1570" y="6226"/>
                  <a:pt x="1560" y="6217"/>
                  <a:pt x="1549" y="6217"/>
                </a:cubicBezTo>
                <a:close/>
                <a:moveTo>
                  <a:pt x="1392" y="6368"/>
                </a:moveTo>
                <a:cubicBezTo>
                  <a:pt x="1382" y="6368"/>
                  <a:pt x="1374" y="6376"/>
                  <a:pt x="1374" y="6386"/>
                </a:cubicBezTo>
                <a:cubicBezTo>
                  <a:pt x="1374" y="6396"/>
                  <a:pt x="1382" y="6404"/>
                  <a:pt x="1392" y="6404"/>
                </a:cubicBezTo>
                <a:cubicBezTo>
                  <a:pt x="1402" y="6404"/>
                  <a:pt x="1411" y="6396"/>
                  <a:pt x="1411" y="6386"/>
                </a:cubicBezTo>
                <a:cubicBezTo>
                  <a:pt x="1411" y="6376"/>
                  <a:pt x="1402" y="6368"/>
                  <a:pt x="1392" y="6368"/>
                </a:cubicBezTo>
                <a:close/>
                <a:moveTo>
                  <a:pt x="1229" y="6510"/>
                </a:moveTo>
                <a:cubicBezTo>
                  <a:pt x="1220" y="6510"/>
                  <a:pt x="1213" y="6517"/>
                  <a:pt x="1213" y="6526"/>
                </a:cubicBezTo>
                <a:cubicBezTo>
                  <a:pt x="1213" y="6535"/>
                  <a:pt x="1220" y="6542"/>
                  <a:pt x="1229" y="6542"/>
                </a:cubicBezTo>
                <a:cubicBezTo>
                  <a:pt x="1237" y="6542"/>
                  <a:pt x="1245" y="6535"/>
                  <a:pt x="1245" y="6526"/>
                </a:cubicBezTo>
                <a:cubicBezTo>
                  <a:pt x="1245" y="6517"/>
                  <a:pt x="1237" y="6510"/>
                  <a:pt x="1229" y="6510"/>
                </a:cubicBezTo>
                <a:close/>
                <a:moveTo>
                  <a:pt x="1058" y="6646"/>
                </a:moveTo>
                <a:cubicBezTo>
                  <a:pt x="1052" y="6646"/>
                  <a:pt x="1047" y="6651"/>
                  <a:pt x="1047" y="6657"/>
                </a:cubicBezTo>
                <a:cubicBezTo>
                  <a:pt x="1047" y="6663"/>
                  <a:pt x="1052" y="6668"/>
                  <a:pt x="1058" y="6668"/>
                </a:cubicBezTo>
                <a:cubicBezTo>
                  <a:pt x="1064" y="6668"/>
                  <a:pt x="1069" y="6663"/>
                  <a:pt x="1069" y="6657"/>
                </a:cubicBezTo>
                <a:cubicBezTo>
                  <a:pt x="1069" y="6651"/>
                  <a:pt x="1064" y="6646"/>
                  <a:pt x="1058" y="6646"/>
                </a:cubicBezTo>
                <a:close/>
                <a:moveTo>
                  <a:pt x="880" y="6772"/>
                </a:moveTo>
                <a:cubicBezTo>
                  <a:pt x="876" y="6772"/>
                  <a:pt x="873" y="6775"/>
                  <a:pt x="873" y="6779"/>
                </a:cubicBezTo>
                <a:cubicBezTo>
                  <a:pt x="873" y="6783"/>
                  <a:pt x="876" y="6787"/>
                  <a:pt x="880" y="6787"/>
                </a:cubicBezTo>
                <a:cubicBezTo>
                  <a:pt x="884" y="6787"/>
                  <a:pt x="888" y="6783"/>
                  <a:pt x="888" y="6779"/>
                </a:cubicBezTo>
                <a:cubicBezTo>
                  <a:pt x="888" y="6775"/>
                  <a:pt x="884" y="6772"/>
                  <a:pt x="880" y="6772"/>
                </a:cubicBezTo>
                <a:close/>
                <a:moveTo>
                  <a:pt x="697" y="6887"/>
                </a:moveTo>
                <a:cubicBezTo>
                  <a:pt x="694" y="6887"/>
                  <a:pt x="692" y="6889"/>
                  <a:pt x="692" y="6892"/>
                </a:cubicBezTo>
                <a:cubicBezTo>
                  <a:pt x="692" y="6894"/>
                  <a:pt x="694" y="6896"/>
                  <a:pt x="697" y="6896"/>
                </a:cubicBezTo>
                <a:cubicBezTo>
                  <a:pt x="699" y="6896"/>
                  <a:pt x="701" y="6894"/>
                  <a:pt x="701" y="6892"/>
                </a:cubicBezTo>
                <a:cubicBezTo>
                  <a:pt x="701" y="6889"/>
                  <a:pt x="699" y="6887"/>
                  <a:pt x="697" y="6887"/>
                </a:cubicBezTo>
                <a:close/>
                <a:moveTo>
                  <a:pt x="1058" y="1"/>
                </a:moveTo>
                <a:cubicBezTo>
                  <a:pt x="1058" y="1"/>
                  <a:pt x="1058" y="0"/>
                  <a:pt x="1058" y="0"/>
                </a:cubicBezTo>
                <a:cubicBezTo>
                  <a:pt x="1058" y="0"/>
                  <a:pt x="1058" y="0"/>
                  <a:pt x="1058" y="0"/>
                </a:cubicBezTo>
                <a:cubicBezTo>
                  <a:pt x="1057" y="0"/>
                  <a:pt x="1057" y="0"/>
                  <a:pt x="1057" y="0"/>
                </a:cubicBezTo>
                <a:cubicBezTo>
                  <a:pt x="1057" y="0"/>
                  <a:pt x="1057" y="1"/>
                  <a:pt x="1058" y="1"/>
                </a:cubicBezTo>
                <a:close/>
                <a:moveTo>
                  <a:pt x="1229" y="132"/>
                </a:moveTo>
                <a:cubicBezTo>
                  <a:pt x="1229" y="132"/>
                  <a:pt x="1229" y="132"/>
                  <a:pt x="1229" y="131"/>
                </a:cubicBezTo>
                <a:cubicBezTo>
                  <a:pt x="1229" y="131"/>
                  <a:pt x="1229" y="131"/>
                  <a:pt x="1229" y="131"/>
                </a:cubicBezTo>
                <a:cubicBezTo>
                  <a:pt x="1228" y="131"/>
                  <a:pt x="1228" y="131"/>
                  <a:pt x="1228" y="131"/>
                </a:cubicBezTo>
                <a:cubicBezTo>
                  <a:pt x="1228" y="132"/>
                  <a:pt x="1228" y="132"/>
                  <a:pt x="1229" y="132"/>
                </a:cubicBezTo>
                <a:close/>
                <a:moveTo>
                  <a:pt x="1392" y="272"/>
                </a:moveTo>
                <a:cubicBezTo>
                  <a:pt x="1393" y="272"/>
                  <a:pt x="1394" y="272"/>
                  <a:pt x="1394" y="271"/>
                </a:cubicBezTo>
                <a:cubicBezTo>
                  <a:pt x="1394" y="271"/>
                  <a:pt x="1393" y="270"/>
                  <a:pt x="1392" y="270"/>
                </a:cubicBezTo>
                <a:cubicBezTo>
                  <a:pt x="1392" y="270"/>
                  <a:pt x="1391" y="271"/>
                  <a:pt x="1391" y="271"/>
                </a:cubicBezTo>
                <a:cubicBezTo>
                  <a:pt x="1391" y="272"/>
                  <a:pt x="1392" y="272"/>
                  <a:pt x="1392" y="272"/>
                </a:cubicBezTo>
                <a:close/>
                <a:moveTo>
                  <a:pt x="1549" y="421"/>
                </a:moveTo>
                <a:cubicBezTo>
                  <a:pt x="1549" y="421"/>
                  <a:pt x="1550" y="420"/>
                  <a:pt x="1550" y="419"/>
                </a:cubicBezTo>
                <a:cubicBezTo>
                  <a:pt x="1550" y="419"/>
                  <a:pt x="1549" y="418"/>
                  <a:pt x="1549" y="418"/>
                </a:cubicBezTo>
                <a:cubicBezTo>
                  <a:pt x="1548" y="418"/>
                  <a:pt x="1547" y="419"/>
                  <a:pt x="1547" y="419"/>
                </a:cubicBezTo>
                <a:cubicBezTo>
                  <a:pt x="1547" y="420"/>
                  <a:pt x="1548" y="421"/>
                  <a:pt x="1549" y="421"/>
                </a:cubicBezTo>
                <a:close/>
                <a:moveTo>
                  <a:pt x="1697" y="577"/>
                </a:moveTo>
                <a:cubicBezTo>
                  <a:pt x="1698" y="577"/>
                  <a:pt x="1698" y="576"/>
                  <a:pt x="1698" y="576"/>
                </a:cubicBezTo>
                <a:cubicBezTo>
                  <a:pt x="1698" y="575"/>
                  <a:pt x="1698" y="575"/>
                  <a:pt x="1697" y="575"/>
                </a:cubicBezTo>
                <a:cubicBezTo>
                  <a:pt x="1696" y="575"/>
                  <a:pt x="1696" y="575"/>
                  <a:pt x="1696" y="576"/>
                </a:cubicBezTo>
                <a:cubicBezTo>
                  <a:pt x="1696" y="576"/>
                  <a:pt x="1696" y="577"/>
                  <a:pt x="1697" y="577"/>
                </a:cubicBezTo>
                <a:close/>
                <a:moveTo>
                  <a:pt x="1837" y="741"/>
                </a:moveTo>
                <a:cubicBezTo>
                  <a:pt x="1838" y="741"/>
                  <a:pt x="1838" y="740"/>
                  <a:pt x="1838" y="740"/>
                </a:cubicBezTo>
                <a:cubicBezTo>
                  <a:pt x="1838" y="739"/>
                  <a:pt x="1838" y="738"/>
                  <a:pt x="1837" y="738"/>
                </a:cubicBezTo>
                <a:cubicBezTo>
                  <a:pt x="1836" y="738"/>
                  <a:pt x="1835" y="739"/>
                  <a:pt x="1835" y="740"/>
                </a:cubicBezTo>
                <a:cubicBezTo>
                  <a:pt x="1835" y="740"/>
                  <a:pt x="1836" y="741"/>
                  <a:pt x="1837" y="741"/>
                </a:cubicBezTo>
                <a:close/>
                <a:moveTo>
                  <a:pt x="1968" y="912"/>
                </a:moveTo>
                <a:cubicBezTo>
                  <a:pt x="1969" y="912"/>
                  <a:pt x="1970" y="911"/>
                  <a:pt x="1970" y="910"/>
                </a:cubicBezTo>
                <a:cubicBezTo>
                  <a:pt x="1970" y="909"/>
                  <a:pt x="1969" y="909"/>
                  <a:pt x="1968" y="909"/>
                </a:cubicBezTo>
                <a:cubicBezTo>
                  <a:pt x="1967" y="909"/>
                  <a:pt x="1966" y="909"/>
                  <a:pt x="1966" y="910"/>
                </a:cubicBezTo>
                <a:cubicBezTo>
                  <a:pt x="1966" y="911"/>
                  <a:pt x="1967" y="912"/>
                  <a:pt x="1968" y="912"/>
                </a:cubicBezTo>
                <a:close/>
                <a:moveTo>
                  <a:pt x="2090" y="1090"/>
                </a:moveTo>
                <a:cubicBezTo>
                  <a:pt x="2091" y="1090"/>
                  <a:pt x="2092" y="1089"/>
                  <a:pt x="2092" y="1088"/>
                </a:cubicBezTo>
                <a:cubicBezTo>
                  <a:pt x="2092" y="1087"/>
                  <a:pt x="2091" y="1086"/>
                  <a:pt x="2090" y="1086"/>
                </a:cubicBezTo>
                <a:cubicBezTo>
                  <a:pt x="2089" y="1086"/>
                  <a:pt x="2088" y="1087"/>
                  <a:pt x="2088" y="1088"/>
                </a:cubicBezTo>
                <a:cubicBezTo>
                  <a:pt x="2088" y="1089"/>
                  <a:pt x="2089" y="1090"/>
                  <a:pt x="2090" y="1090"/>
                </a:cubicBezTo>
                <a:close/>
                <a:moveTo>
                  <a:pt x="2202" y="1275"/>
                </a:moveTo>
                <a:cubicBezTo>
                  <a:pt x="2204" y="1275"/>
                  <a:pt x="2206" y="1273"/>
                  <a:pt x="2206" y="1272"/>
                </a:cubicBezTo>
                <a:cubicBezTo>
                  <a:pt x="2206" y="1270"/>
                  <a:pt x="2204" y="1268"/>
                  <a:pt x="2202" y="1268"/>
                </a:cubicBezTo>
                <a:cubicBezTo>
                  <a:pt x="2201" y="1268"/>
                  <a:pt x="2199" y="1270"/>
                  <a:pt x="2199" y="1272"/>
                </a:cubicBezTo>
                <a:cubicBezTo>
                  <a:pt x="2199" y="1273"/>
                  <a:pt x="2201" y="1275"/>
                  <a:pt x="2202" y="1275"/>
                </a:cubicBezTo>
                <a:close/>
                <a:moveTo>
                  <a:pt x="2305" y="1466"/>
                </a:moveTo>
                <a:cubicBezTo>
                  <a:pt x="2308" y="1466"/>
                  <a:pt x="2310" y="1464"/>
                  <a:pt x="2310" y="1461"/>
                </a:cubicBezTo>
                <a:cubicBezTo>
                  <a:pt x="2310" y="1458"/>
                  <a:pt x="2308" y="1456"/>
                  <a:pt x="2305" y="1456"/>
                </a:cubicBezTo>
                <a:cubicBezTo>
                  <a:pt x="2302" y="1456"/>
                  <a:pt x="2300" y="1458"/>
                  <a:pt x="2300" y="1461"/>
                </a:cubicBezTo>
                <a:cubicBezTo>
                  <a:pt x="2300" y="1464"/>
                  <a:pt x="2302" y="1466"/>
                  <a:pt x="2305" y="1466"/>
                </a:cubicBezTo>
                <a:close/>
                <a:moveTo>
                  <a:pt x="2398" y="1663"/>
                </a:moveTo>
                <a:cubicBezTo>
                  <a:pt x="2402" y="1663"/>
                  <a:pt x="2406" y="1660"/>
                  <a:pt x="2406" y="1655"/>
                </a:cubicBezTo>
                <a:cubicBezTo>
                  <a:pt x="2406" y="1651"/>
                  <a:pt x="2402" y="1647"/>
                  <a:pt x="2398" y="1647"/>
                </a:cubicBezTo>
                <a:cubicBezTo>
                  <a:pt x="2394" y="1647"/>
                  <a:pt x="2390" y="1651"/>
                  <a:pt x="2390" y="1655"/>
                </a:cubicBezTo>
                <a:cubicBezTo>
                  <a:pt x="2390" y="1660"/>
                  <a:pt x="2394" y="1663"/>
                  <a:pt x="2398" y="1663"/>
                </a:cubicBezTo>
                <a:close/>
                <a:moveTo>
                  <a:pt x="2480" y="1866"/>
                </a:moveTo>
                <a:cubicBezTo>
                  <a:pt x="2487" y="1866"/>
                  <a:pt x="2492" y="1861"/>
                  <a:pt x="2492" y="1854"/>
                </a:cubicBezTo>
                <a:cubicBezTo>
                  <a:pt x="2492" y="1848"/>
                  <a:pt x="2487" y="1843"/>
                  <a:pt x="2480" y="1843"/>
                </a:cubicBezTo>
                <a:cubicBezTo>
                  <a:pt x="2474" y="1843"/>
                  <a:pt x="2469" y="1848"/>
                  <a:pt x="2469" y="1854"/>
                </a:cubicBezTo>
                <a:cubicBezTo>
                  <a:pt x="2469" y="1861"/>
                  <a:pt x="2474" y="1866"/>
                  <a:pt x="2480" y="1866"/>
                </a:cubicBezTo>
                <a:close/>
                <a:moveTo>
                  <a:pt x="2552" y="2072"/>
                </a:moveTo>
                <a:cubicBezTo>
                  <a:pt x="2560" y="2072"/>
                  <a:pt x="2567" y="2066"/>
                  <a:pt x="2567" y="2057"/>
                </a:cubicBezTo>
                <a:cubicBezTo>
                  <a:pt x="2567" y="2049"/>
                  <a:pt x="2560" y="2042"/>
                  <a:pt x="2552" y="2042"/>
                </a:cubicBezTo>
                <a:cubicBezTo>
                  <a:pt x="2544" y="2042"/>
                  <a:pt x="2537" y="2049"/>
                  <a:pt x="2537" y="2057"/>
                </a:cubicBezTo>
                <a:cubicBezTo>
                  <a:pt x="2537" y="2066"/>
                  <a:pt x="2544" y="2072"/>
                  <a:pt x="2552" y="2072"/>
                </a:cubicBezTo>
                <a:close/>
                <a:moveTo>
                  <a:pt x="2613" y="2283"/>
                </a:moveTo>
                <a:cubicBezTo>
                  <a:pt x="2624" y="2283"/>
                  <a:pt x="2632" y="2274"/>
                  <a:pt x="2632" y="2264"/>
                </a:cubicBezTo>
                <a:cubicBezTo>
                  <a:pt x="2632" y="2253"/>
                  <a:pt x="2624" y="2245"/>
                  <a:pt x="2613" y="2245"/>
                </a:cubicBezTo>
                <a:cubicBezTo>
                  <a:pt x="2603" y="2245"/>
                  <a:pt x="2595" y="2253"/>
                  <a:pt x="2595" y="2264"/>
                </a:cubicBezTo>
                <a:cubicBezTo>
                  <a:pt x="2595" y="2274"/>
                  <a:pt x="2603" y="2283"/>
                  <a:pt x="2613" y="2283"/>
                </a:cubicBezTo>
                <a:close/>
                <a:moveTo>
                  <a:pt x="2664" y="2494"/>
                </a:moveTo>
                <a:cubicBezTo>
                  <a:pt x="2675" y="2494"/>
                  <a:pt x="2684" y="2485"/>
                  <a:pt x="2684" y="2473"/>
                </a:cubicBezTo>
                <a:cubicBezTo>
                  <a:pt x="2684" y="2462"/>
                  <a:pt x="2675" y="2453"/>
                  <a:pt x="2664" y="2453"/>
                </a:cubicBezTo>
                <a:cubicBezTo>
                  <a:pt x="2652" y="2453"/>
                  <a:pt x="2643" y="2462"/>
                  <a:pt x="2643" y="2473"/>
                </a:cubicBezTo>
                <a:cubicBezTo>
                  <a:pt x="2643" y="2485"/>
                  <a:pt x="2652" y="2494"/>
                  <a:pt x="2664" y="2494"/>
                </a:cubicBezTo>
                <a:close/>
                <a:moveTo>
                  <a:pt x="2703" y="2708"/>
                </a:moveTo>
                <a:cubicBezTo>
                  <a:pt x="2716" y="2708"/>
                  <a:pt x="2726" y="2698"/>
                  <a:pt x="2726" y="2685"/>
                </a:cubicBezTo>
                <a:cubicBezTo>
                  <a:pt x="2726" y="2672"/>
                  <a:pt x="2716" y="2662"/>
                  <a:pt x="2703" y="2662"/>
                </a:cubicBezTo>
                <a:cubicBezTo>
                  <a:pt x="2690" y="2662"/>
                  <a:pt x="2680" y="2672"/>
                  <a:pt x="2680" y="2685"/>
                </a:cubicBezTo>
                <a:cubicBezTo>
                  <a:pt x="2680" y="2698"/>
                  <a:pt x="2690" y="2708"/>
                  <a:pt x="2703" y="2708"/>
                </a:cubicBezTo>
                <a:close/>
                <a:moveTo>
                  <a:pt x="2708" y="2899"/>
                </a:moveTo>
                <a:cubicBezTo>
                  <a:pt x="2708" y="2911"/>
                  <a:pt x="2719" y="2921"/>
                  <a:pt x="2731" y="2921"/>
                </a:cubicBezTo>
                <a:cubicBezTo>
                  <a:pt x="2744" y="2921"/>
                  <a:pt x="2754" y="2911"/>
                  <a:pt x="2754" y="2899"/>
                </a:cubicBezTo>
                <a:cubicBezTo>
                  <a:pt x="2754" y="2886"/>
                  <a:pt x="2744" y="2876"/>
                  <a:pt x="2731" y="2876"/>
                </a:cubicBezTo>
                <a:cubicBezTo>
                  <a:pt x="2719" y="2876"/>
                  <a:pt x="2708" y="2886"/>
                  <a:pt x="2708" y="2899"/>
                </a:cubicBezTo>
                <a:close/>
                <a:moveTo>
                  <a:pt x="2719" y="3113"/>
                </a:moveTo>
                <a:cubicBezTo>
                  <a:pt x="2719" y="3129"/>
                  <a:pt x="2732" y="3142"/>
                  <a:pt x="2748" y="3142"/>
                </a:cubicBezTo>
                <a:cubicBezTo>
                  <a:pt x="2764" y="3142"/>
                  <a:pt x="2777" y="3129"/>
                  <a:pt x="2777" y="3113"/>
                </a:cubicBezTo>
                <a:cubicBezTo>
                  <a:pt x="2777" y="3098"/>
                  <a:pt x="2764" y="3085"/>
                  <a:pt x="2748" y="3085"/>
                </a:cubicBezTo>
                <a:cubicBezTo>
                  <a:pt x="2732" y="3085"/>
                  <a:pt x="2719" y="3098"/>
                  <a:pt x="2719" y="3113"/>
                </a:cubicBezTo>
                <a:close/>
              </a:path>
            </a:pathLst>
          </a:custGeom>
          <a:gradFill>
            <a:gsLst>
              <a:gs pos="0">
                <a:srgbClr val="00AB7A">
                  <a:alpha val="24000"/>
                </a:srgbClr>
              </a:gs>
              <a:gs pos="100000">
                <a:srgbClr val="00AB7A">
                  <a:alpha val="0"/>
                </a:srgbClr>
              </a:gs>
            </a:gsLst>
            <a:lin ang="1620000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zh-CN" altLang="en-US" sz="2400"/>
          </a:p>
        </p:txBody>
      </p:sp>
      <p:grpSp>
        <p:nvGrpSpPr>
          <p:cNvPr id="11" name="组合 10"/>
          <p:cNvGrpSpPr/>
          <p:nvPr userDrawn="1"/>
        </p:nvGrpSpPr>
        <p:grpSpPr>
          <a:xfrm>
            <a:off x="4826836" y="2115823"/>
            <a:ext cx="2538333" cy="627472"/>
            <a:chOff x="3360674" y="1589916"/>
            <a:chExt cx="2485488" cy="614408"/>
          </a:xfrm>
        </p:grpSpPr>
        <p:sp>
          <p:nvSpPr>
            <p:cNvPr id="15" name="任意多边形 10"/>
            <p:cNvSpPr/>
            <p:nvPr/>
          </p:nvSpPr>
          <p:spPr>
            <a:xfrm>
              <a:off x="4939537" y="1589916"/>
              <a:ext cx="906625" cy="614408"/>
            </a:xfrm>
            <a:custGeom>
              <a:avLst/>
              <a:gdLst>
                <a:gd name="connsiteX0" fmla="*/ 0 w 1335937"/>
                <a:gd name="connsiteY0" fmla="*/ 0 h 905346"/>
                <a:gd name="connsiteX1" fmla="*/ 1203150 w 1335937"/>
                <a:gd name="connsiteY1" fmla="*/ 0 h 905346"/>
                <a:gd name="connsiteX2" fmla="*/ 1335937 w 1335937"/>
                <a:gd name="connsiteY2" fmla="*/ 132787 h 905346"/>
                <a:gd name="connsiteX3" fmla="*/ 1335937 w 1335937"/>
                <a:gd name="connsiteY3" fmla="*/ 772559 h 905346"/>
                <a:gd name="connsiteX4" fmla="*/ 1203150 w 1335937"/>
                <a:gd name="connsiteY4" fmla="*/ 905346 h 905346"/>
                <a:gd name="connsiteX5" fmla="*/ 0 w 1335937"/>
                <a:gd name="connsiteY5" fmla="*/ 905346 h 90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5937" h="905346">
                  <a:moveTo>
                    <a:pt x="0" y="0"/>
                  </a:moveTo>
                  <a:lnTo>
                    <a:pt x="1203150" y="0"/>
                  </a:lnTo>
                  <a:cubicBezTo>
                    <a:pt x="1276486" y="0"/>
                    <a:pt x="1335937" y="59451"/>
                    <a:pt x="1335937" y="132787"/>
                  </a:cubicBezTo>
                  <a:lnTo>
                    <a:pt x="1335937" y="772559"/>
                  </a:lnTo>
                  <a:cubicBezTo>
                    <a:pt x="1335937" y="845895"/>
                    <a:pt x="1276486" y="905346"/>
                    <a:pt x="1203150" y="905346"/>
                  </a:cubicBezTo>
                  <a:lnTo>
                    <a:pt x="0" y="905346"/>
                  </a:lnTo>
                  <a:close/>
                </a:path>
              </a:pathLst>
            </a:custGeom>
            <a:solidFill>
              <a:srgbClr val="00AB7A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noAutofit/>
            </a:bodyPr>
            <a:lstStyle/>
            <a:p>
              <a:pPr algn="ctr"/>
              <a:endPara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任意多边形 12"/>
            <p:cNvSpPr/>
            <p:nvPr/>
          </p:nvSpPr>
          <p:spPr>
            <a:xfrm>
              <a:off x="3360674" y="1589916"/>
              <a:ext cx="1578864" cy="614408"/>
            </a:xfrm>
            <a:custGeom>
              <a:avLst/>
              <a:gdLst>
                <a:gd name="connsiteX0" fmla="*/ 132787 w 2290286"/>
                <a:gd name="connsiteY0" fmla="*/ 0 h 905346"/>
                <a:gd name="connsiteX1" fmla="*/ 2290286 w 2290286"/>
                <a:gd name="connsiteY1" fmla="*/ 0 h 905346"/>
                <a:gd name="connsiteX2" fmla="*/ 2290286 w 2290286"/>
                <a:gd name="connsiteY2" fmla="*/ 905346 h 905346"/>
                <a:gd name="connsiteX3" fmla="*/ 132787 w 2290286"/>
                <a:gd name="connsiteY3" fmla="*/ 905346 h 905346"/>
                <a:gd name="connsiteX4" fmla="*/ 0 w 2290286"/>
                <a:gd name="connsiteY4" fmla="*/ 772559 h 905346"/>
                <a:gd name="connsiteX5" fmla="*/ 0 w 2290286"/>
                <a:gd name="connsiteY5" fmla="*/ 132787 h 905346"/>
                <a:gd name="connsiteX6" fmla="*/ 132787 w 2290286"/>
                <a:gd name="connsiteY6" fmla="*/ 0 h 90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0286" h="905346">
                  <a:moveTo>
                    <a:pt x="132787" y="0"/>
                  </a:moveTo>
                  <a:lnTo>
                    <a:pt x="2290286" y="0"/>
                  </a:lnTo>
                  <a:lnTo>
                    <a:pt x="2290286" y="905346"/>
                  </a:lnTo>
                  <a:lnTo>
                    <a:pt x="132787" y="905346"/>
                  </a:lnTo>
                  <a:cubicBezTo>
                    <a:pt x="59451" y="905346"/>
                    <a:pt x="0" y="845895"/>
                    <a:pt x="0" y="772559"/>
                  </a:cubicBezTo>
                  <a:lnTo>
                    <a:pt x="0" y="132787"/>
                  </a:lnTo>
                  <a:cubicBezTo>
                    <a:pt x="0" y="59451"/>
                    <a:pt x="59451" y="0"/>
                    <a:pt x="132787" y="0"/>
                  </a:cubicBezTo>
                  <a:close/>
                </a:path>
              </a:pathLst>
            </a:custGeom>
            <a:solidFill>
              <a:srgbClr val="4E5766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noAutofit/>
            </a:bodyPr>
            <a:lstStyle/>
            <a:p>
              <a:pPr algn="ctr"/>
              <a:r>
                <a:rPr lang="en-US" altLang="zh-CN" sz="3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ART</a:t>
              </a:r>
              <a:endPara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7" name="标题 10"/>
          <p:cNvSpPr>
            <a:spLocks noGrp="1"/>
          </p:cNvSpPr>
          <p:nvPr>
            <p:ph type="title"/>
          </p:nvPr>
        </p:nvSpPr>
        <p:spPr>
          <a:xfrm>
            <a:off x="3127563" y="2909057"/>
            <a:ext cx="5936875" cy="1925500"/>
          </a:xfrm>
          <a:prstGeom prst="rect">
            <a:avLst/>
          </a:prstGeom>
        </p:spPr>
        <p:txBody>
          <a:bodyPr/>
          <a:lstStyle>
            <a:lvl1pPr algn="ctr">
              <a:defRPr lang="zh-CN" altLang="en-US" sz="5335" b="1" kern="1200" dirty="0">
                <a:solidFill>
                  <a:srgbClr val="4E57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8" name="文本占位符 15"/>
          <p:cNvSpPr>
            <a:spLocks noGrp="1"/>
          </p:cNvSpPr>
          <p:nvPr>
            <p:ph type="body" sz="quarter" idx="10" hasCustomPrompt="1"/>
          </p:nvPr>
        </p:nvSpPr>
        <p:spPr>
          <a:xfrm>
            <a:off x="6528566" y="2106681"/>
            <a:ext cx="2187497" cy="62747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zh-CN" altLang="en-US" sz="3200" b="1" kern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lvl="0"/>
            <a:r>
              <a:rPr lang="zh-CN" altLang="en-US" dirty="0"/>
              <a:t>单击此处编辑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30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4"/>
              </a:lnSpc>
              <a:defRPr sz="2742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2: two columns copy heav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6" y="1966312"/>
            <a:ext cx="5541959" cy="3793112"/>
          </a:xfrm>
        </p:spPr>
        <p:txBody>
          <a:bodyPr lIns="0" tIns="0" rIns="0" bIns="0"/>
          <a:lstStyle>
            <a:lvl1pPr marL="0" indent="0">
              <a:lnSpc>
                <a:spcPts val="1763"/>
              </a:lnSpc>
              <a:spcBef>
                <a:spcPts val="881"/>
              </a:spcBef>
              <a:buNone/>
              <a:defRPr lang="en-US" sz="1371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453" rtl="0" eaLnBrk="1" fontAlgn="auto" latinLnBrk="0" hangingPunct="1">
              <a:lnSpc>
                <a:spcPts val="1763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chemeClr val="tx1"/>
                </a:solidFill>
              </a:defRPr>
            </a:lvl2pPr>
            <a:lvl3pPr marL="447745" indent="0">
              <a:buNone/>
              <a:defRPr/>
            </a:lvl3pPr>
            <a:lvl4pPr marL="671618" indent="0">
              <a:buNone/>
              <a:defRPr/>
            </a:lvl4pPr>
            <a:lvl5pPr marL="895490" indent="0">
              <a:buNone/>
              <a:defRPr/>
            </a:lvl5pPr>
          </a:lstStyle>
          <a:p>
            <a:pPr marL="0" marR="0" lvl="0" indent="0" algn="l" defTabSz="913453" rtl="0" eaLnBrk="1" fontAlgn="auto" latinLnBrk="0" hangingPunct="1">
              <a:lnSpc>
                <a:spcPts val="1763"/>
              </a:lnSpc>
              <a:spcBef>
                <a:spcPts val="881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Pa </a:t>
            </a:r>
            <a:r>
              <a:rPr lang="en-US" err="1"/>
              <a:t>consed</a:t>
            </a:r>
            <a:r>
              <a:rPr lang="en-US"/>
              <a:t> et </a:t>
            </a:r>
            <a:r>
              <a:rPr lang="en-US" err="1"/>
              <a:t>atur</a:t>
            </a:r>
            <a:r>
              <a:rPr lang="en-US"/>
              <a:t>. </a:t>
            </a:r>
            <a:r>
              <a:rPr lang="en-US" err="1"/>
              <a:t>Serion</a:t>
            </a:r>
            <a:r>
              <a:rPr lang="en-US"/>
              <a:t> </a:t>
            </a:r>
            <a:r>
              <a:rPr lang="en-US" err="1"/>
              <a:t>corepudi</a:t>
            </a:r>
            <a:r>
              <a:rPr lang="en-US"/>
              <a:t> dolor </a:t>
            </a:r>
            <a:r>
              <a:rPr lang="en-US" err="1"/>
              <a:t>adionse</a:t>
            </a:r>
            <a:r>
              <a:rPr lang="en-US"/>
              <a:t> </a:t>
            </a:r>
            <a:r>
              <a:rPr lang="en-US" err="1"/>
              <a:t>quibusame</a:t>
            </a:r>
            <a:r>
              <a:rPr lang="en-US"/>
              <a:t> </a:t>
            </a:r>
            <a:r>
              <a:rPr lang="en-US" err="1"/>
              <a:t>nullabora</a:t>
            </a:r>
            <a:r>
              <a:rPr lang="en-US"/>
              <a:t> </a:t>
            </a:r>
            <a:r>
              <a:rPr lang="en-US" err="1"/>
              <a:t>volent</a:t>
            </a:r>
            <a:r>
              <a:rPr lang="en-US"/>
              <a:t> </a:t>
            </a:r>
            <a:r>
              <a:rPr lang="en-US" err="1"/>
              <a:t>lignam</a:t>
            </a:r>
            <a:r>
              <a:rPr lang="en-US"/>
              <a:t> </a:t>
            </a:r>
            <a:r>
              <a:rPr lang="en-US" err="1"/>
              <a:t>entis</a:t>
            </a:r>
            <a:r>
              <a:rPr lang="en-US"/>
              <a:t> ape </a:t>
            </a:r>
            <a:r>
              <a:rPr lang="en-US" err="1"/>
              <a:t>dolores</a:t>
            </a:r>
            <a:r>
              <a:rPr lang="en-US"/>
              <a:t> se </a:t>
            </a:r>
            <a:r>
              <a:rPr lang="en-US" err="1"/>
              <a:t>voluptae</a:t>
            </a:r>
            <a:r>
              <a:rPr lang="en-US"/>
              <a:t> </a:t>
            </a:r>
            <a:r>
              <a:rPr lang="en-US" err="1"/>
              <a:t>nimolupti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</a:t>
            </a:r>
            <a:r>
              <a:rPr lang="en-US" err="1"/>
              <a:t>simusa</a:t>
            </a:r>
            <a:r>
              <a:rPr lang="en-US"/>
              <a:t> </a:t>
            </a:r>
            <a:r>
              <a:rPr lang="en-US" err="1"/>
              <a:t>doluptur</a:t>
            </a:r>
            <a:r>
              <a:rPr lang="en-US"/>
              <a:t>, sum hic </a:t>
            </a:r>
            <a:r>
              <a:rPr lang="en-US" err="1"/>
              <a:t>tem</a:t>
            </a:r>
            <a:r>
              <a:rPr lang="en-US"/>
              <a:t> qui cum </a:t>
            </a:r>
            <a:r>
              <a:rPr lang="en-US" err="1"/>
              <a:t>evelest</a:t>
            </a:r>
            <a:r>
              <a:rPr lang="en-US"/>
              <a:t>, </a:t>
            </a:r>
            <a:r>
              <a:rPr lang="en-US" err="1"/>
              <a:t>cusapel</a:t>
            </a:r>
            <a:r>
              <a:rPr lang="en-US"/>
              <a:t> et </a:t>
            </a:r>
            <a:r>
              <a:rPr lang="en-US" err="1"/>
              <a:t>unt</a:t>
            </a:r>
            <a:r>
              <a:rPr lang="en-US"/>
              <a:t> et </a:t>
            </a:r>
            <a:r>
              <a:rPr lang="en-US" err="1"/>
              <a:t>hiciisciume</a:t>
            </a:r>
            <a:r>
              <a:rPr lang="en-US"/>
              <a:t> </a:t>
            </a:r>
            <a:r>
              <a:rPr lang="en-US" err="1"/>
              <a:t>vernatiore</a:t>
            </a:r>
            <a:r>
              <a:rPr lang="en-US"/>
              <a:t> </a:t>
            </a:r>
            <a:r>
              <a:rPr lang="en-US" err="1"/>
              <a:t>volenecabor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ent</a:t>
            </a:r>
            <a:r>
              <a:rPr lang="en-US"/>
              <a:t>, </a:t>
            </a:r>
            <a:r>
              <a:rPr lang="en-US" err="1"/>
              <a:t>quamus</a:t>
            </a:r>
            <a:r>
              <a:rPr lang="en-US"/>
              <a:t> </a:t>
            </a:r>
            <a:r>
              <a:rPr lang="en-US" err="1"/>
              <a:t>voluptium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 </a:t>
            </a:r>
            <a:r>
              <a:rPr lang="en-US" err="1"/>
              <a:t>maio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tioria</a:t>
            </a:r>
            <a:r>
              <a:rPr lang="en-US"/>
              <a:t> </a:t>
            </a:r>
            <a:r>
              <a:rPr lang="en-US" err="1"/>
              <a:t>venimetur</a:t>
            </a:r>
            <a:r>
              <a:rPr lang="en-US"/>
              <a:t> re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ent</a:t>
            </a:r>
            <a:r>
              <a:rPr lang="en-US"/>
              <a:t>,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liqui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sin con re </a:t>
            </a:r>
            <a:r>
              <a:rPr lang="en-US" err="1"/>
              <a:t>lau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olupie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 err="1"/>
              <a:t>Henestios</a:t>
            </a:r>
            <a:r>
              <a:rPr lang="en-US"/>
              <a:t> </a:t>
            </a:r>
            <a:r>
              <a:rPr lang="en-US" err="1"/>
              <a:t>vellantium</a:t>
            </a:r>
            <a:r>
              <a:rPr lang="en-US"/>
              <a:t> </a:t>
            </a:r>
            <a:r>
              <a:rPr lang="en-US" err="1"/>
              <a:t>simi</a:t>
            </a:r>
            <a:r>
              <a:rPr lang="en-US"/>
              <a:t>, </a:t>
            </a:r>
            <a:r>
              <a:rPr lang="en-US" err="1"/>
              <a:t>quassenime</a:t>
            </a:r>
            <a:r>
              <a:rPr lang="en-US"/>
              <a:t> consent </a:t>
            </a:r>
            <a:r>
              <a:rPr lang="en-US" err="1"/>
              <a:t>emquatincti</a:t>
            </a:r>
            <a:r>
              <a:rPr lang="en-US"/>
              <a:t> to doles </a:t>
            </a:r>
            <a:r>
              <a:rPr lang="en-US" err="1"/>
              <a:t>cium</a:t>
            </a:r>
            <a:r>
              <a:rPr lang="en-US"/>
              <a:t> </a:t>
            </a:r>
            <a:r>
              <a:rPr lang="en-US" err="1"/>
              <a:t>nectur</a:t>
            </a:r>
            <a:r>
              <a:rPr lang="en-US"/>
              <a:t>. </a:t>
            </a:r>
            <a:r>
              <a:rPr lang="en-US" err="1"/>
              <a:t>Experit</a:t>
            </a:r>
            <a:r>
              <a:rPr lang="en-US"/>
              <a:t> </a:t>
            </a:r>
            <a:r>
              <a:rPr lang="en-US" err="1"/>
              <a:t>occu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ipsuntius</a:t>
            </a:r>
            <a:r>
              <a:rPr lang="en-US"/>
              <a:t> </a:t>
            </a:r>
            <a:r>
              <a:rPr lang="en-US" err="1"/>
              <a:t>quideli</a:t>
            </a:r>
            <a:r>
              <a:rPr lang="en-US"/>
              <a:t> </a:t>
            </a:r>
            <a:r>
              <a:rPr lang="en-US" err="1"/>
              <a:t>tatiis</a:t>
            </a:r>
            <a:r>
              <a:rPr lang="en-US"/>
              <a:t> rem </a:t>
            </a:r>
            <a:r>
              <a:rPr lang="en-US" err="1"/>
              <a:t>restis</a:t>
            </a:r>
            <a:r>
              <a:rPr lang="en-US"/>
              <a:t> pro </a:t>
            </a:r>
            <a:r>
              <a:rPr lang="en-US" err="1"/>
              <a:t>ium</a:t>
            </a:r>
            <a:r>
              <a:rPr lang="en-US"/>
              <a:t> qui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debist</a:t>
            </a:r>
            <a:r>
              <a:rPr lang="en-US"/>
              <a:t> at </a:t>
            </a:r>
            <a:r>
              <a:rPr lang="en-US" err="1"/>
              <a:t>ilit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cus</a:t>
            </a:r>
            <a:r>
              <a:rPr lang="en-US"/>
              <a:t> </a:t>
            </a:r>
            <a:r>
              <a:rPr lang="en-US" err="1"/>
              <a:t>invenim</a:t>
            </a:r>
            <a:r>
              <a:rPr lang="en-US"/>
              <a:t> </a:t>
            </a:r>
            <a:r>
              <a:rPr lang="en-US" err="1"/>
              <a:t>laborro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rectiissunt</a:t>
            </a:r>
            <a:r>
              <a:rPr lang="en-US"/>
              <a:t> et, </a:t>
            </a:r>
            <a:r>
              <a:rPr lang="en-US" err="1"/>
              <a:t>nos</a:t>
            </a:r>
            <a:r>
              <a:rPr lang="en-US"/>
              <a:t> </a:t>
            </a:r>
            <a:r>
              <a:rPr lang="en-US" err="1"/>
              <a:t>doloratia</a:t>
            </a:r>
            <a:r>
              <a:rPr lang="en-US"/>
              <a:t> et </a:t>
            </a:r>
            <a:r>
              <a:rPr lang="en-US" err="1"/>
              <a:t>opta</a:t>
            </a:r>
            <a:r>
              <a:rPr lang="en-US"/>
              <a:t> dis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modis</a:t>
            </a:r>
            <a:r>
              <a:rPr lang="en-US"/>
              <a:t> </a:t>
            </a:r>
            <a:r>
              <a:rPr lang="en-US" err="1"/>
              <a:t>rerat</a:t>
            </a:r>
            <a:r>
              <a:rPr lang="en-US"/>
              <a:t> </a:t>
            </a:r>
            <a:r>
              <a:rPr lang="en-US" err="1"/>
              <a:t>oditatu</a:t>
            </a:r>
            <a:r>
              <a:rPr lang="en-US"/>
              <a:t> </a:t>
            </a:r>
            <a:r>
              <a:rPr lang="en-US" err="1"/>
              <a:t>reseque</a:t>
            </a:r>
            <a:r>
              <a:rPr lang="en-US"/>
              <a:t> </a:t>
            </a:r>
            <a:r>
              <a:rPr lang="en-US" err="1"/>
              <a:t>nisque</a:t>
            </a:r>
            <a:r>
              <a:rPr lang="en-US"/>
              <a:t> rem </a:t>
            </a:r>
            <a:r>
              <a:rPr lang="en-US" err="1"/>
              <a:t>rempore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sit.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9842" y="1956351"/>
            <a:ext cx="5541959" cy="3793112"/>
          </a:xfrm>
        </p:spPr>
        <p:txBody>
          <a:bodyPr lIns="0" tIns="0" rIns="0" bIns="0"/>
          <a:lstStyle>
            <a:lvl1pPr marL="0" indent="0">
              <a:lnSpc>
                <a:spcPts val="1763"/>
              </a:lnSpc>
              <a:spcBef>
                <a:spcPts val="881"/>
              </a:spcBef>
              <a:buNone/>
              <a:defRPr lang="en-US" sz="1371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453" rtl="0" eaLnBrk="1" fontAlgn="auto" latinLnBrk="0" hangingPunct="1">
              <a:lnSpc>
                <a:spcPts val="1763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chemeClr val="tx1"/>
                </a:solidFill>
              </a:defRPr>
            </a:lvl2pPr>
            <a:lvl3pPr marL="447745" indent="0">
              <a:buNone/>
              <a:defRPr/>
            </a:lvl3pPr>
            <a:lvl4pPr marL="671618" indent="0">
              <a:buNone/>
              <a:defRPr/>
            </a:lvl4pPr>
            <a:lvl5pPr marL="895490" indent="0">
              <a:buNone/>
              <a:defRPr/>
            </a:lvl5pPr>
          </a:lstStyle>
          <a:p>
            <a:pPr marL="0" marR="0" lvl="0" indent="0" algn="l" defTabSz="913453" rtl="0" eaLnBrk="1" fontAlgn="auto" latinLnBrk="0" hangingPunct="1">
              <a:lnSpc>
                <a:spcPts val="1763"/>
              </a:lnSpc>
              <a:spcBef>
                <a:spcPts val="881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Pa </a:t>
            </a:r>
            <a:r>
              <a:rPr lang="en-US" err="1"/>
              <a:t>consed</a:t>
            </a:r>
            <a:r>
              <a:rPr lang="en-US"/>
              <a:t> et </a:t>
            </a:r>
            <a:r>
              <a:rPr lang="en-US" err="1"/>
              <a:t>atur</a:t>
            </a:r>
            <a:r>
              <a:rPr lang="en-US"/>
              <a:t>. </a:t>
            </a:r>
            <a:r>
              <a:rPr lang="en-US" err="1"/>
              <a:t>Serion</a:t>
            </a:r>
            <a:r>
              <a:rPr lang="en-US"/>
              <a:t> </a:t>
            </a:r>
            <a:r>
              <a:rPr lang="en-US" err="1"/>
              <a:t>corepudi</a:t>
            </a:r>
            <a:r>
              <a:rPr lang="en-US"/>
              <a:t> dolor </a:t>
            </a:r>
            <a:r>
              <a:rPr lang="en-US" err="1"/>
              <a:t>adionse</a:t>
            </a:r>
            <a:r>
              <a:rPr lang="en-US"/>
              <a:t> </a:t>
            </a:r>
            <a:r>
              <a:rPr lang="en-US" err="1"/>
              <a:t>quibusame</a:t>
            </a:r>
            <a:r>
              <a:rPr lang="en-US"/>
              <a:t> </a:t>
            </a:r>
            <a:r>
              <a:rPr lang="en-US" err="1"/>
              <a:t>nullabora</a:t>
            </a:r>
            <a:r>
              <a:rPr lang="en-US"/>
              <a:t> </a:t>
            </a:r>
            <a:r>
              <a:rPr lang="en-US" err="1"/>
              <a:t>volent</a:t>
            </a:r>
            <a:r>
              <a:rPr lang="en-US"/>
              <a:t> </a:t>
            </a:r>
            <a:r>
              <a:rPr lang="en-US" err="1"/>
              <a:t>lignam</a:t>
            </a:r>
            <a:r>
              <a:rPr lang="en-US"/>
              <a:t> </a:t>
            </a:r>
            <a:r>
              <a:rPr lang="en-US" err="1"/>
              <a:t>entis</a:t>
            </a:r>
            <a:r>
              <a:rPr lang="en-US"/>
              <a:t> ape </a:t>
            </a:r>
            <a:r>
              <a:rPr lang="en-US" err="1"/>
              <a:t>dolores</a:t>
            </a:r>
            <a:r>
              <a:rPr lang="en-US"/>
              <a:t> se </a:t>
            </a:r>
            <a:r>
              <a:rPr lang="en-US" err="1"/>
              <a:t>voluptae</a:t>
            </a:r>
            <a:r>
              <a:rPr lang="en-US"/>
              <a:t> </a:t>
            </a:r>
            <a:r>
              <a:rPr lang="en-US" err="1"/>
              <a:t>nimolupti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</a:t>
            </a:r>
            <a:r>
              <a:rPr lang="en-US" err="1"/>
              <a:t>simusa</a:t>
            </a:r>
            <a:r>
              <a:rPr lang="en-US"/>
              <a:t> </a:t>
            </a:r>
            <a:r>
              <a:rPr lang="en-US" err="1"/>
              <a:t>doluptur</a:t>
            </a:r>
            <a:r>
              <a:rPr lang="en-US"/>
              <a:t>, sum hic </a:t>
            </a:r>
            <a:r>
              <a:rPr lang="en-US" err="1"/>
              <a:t>tem</a:t>
            </a:r>
            <a:r>
              <a:rPr lang="en-US"/>
              <a:t> qui cum </a:t>
            </a:r>
            <a:r>
              <a:rPr lang="en-US" err="1"/>
              <a:t>evelest</a:t>
            </a:r>
            <a:r>
              <a:rPr lang="en-US"/>
              <a:t>, </a:t>
            </a:r>
            <a:r>
              <a:rPr lang="en-US" err="1"/>
              <a:t>cusapel</a:t>
            </a:r>
            <a:r>
              <a:rPr lang="en-US"/>
              <a:t> et </a:t>
            </a:r>
            <a:r>
              <a:rPr lang="en-US" err="1"/>
              <a:t>unt</a:t>
            </a:r>
            <a:r>
              <a:rPr lang="en-US"/>
              <a:t> et </a:t>
            </a:r>
            <a:r>
              <a:rPr lang="en-US" err="1"/>
              <a:t>hiciisciume</a:t>
            </a:r>
            <a:r>
              <a:rPr lang="en-US"/>
              <a:t> </a:t>
            </a:r>
            <a:r>
              <a:rPr lang="en-US" err="1"/>
              <a:t>vernatiore</a:t>
            </a:r>
            <a:r>
              <a:rPr lang="en-US"/>
              <a:t> </a:t>
            </a:r>
            <a:r>
              <a:rPr lang="en-US" err="1"/>
              <a:t>volenecabor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ent</a:t>
            </a:r>
            <a:r>
              <a:rPr lang="en-US"/>
              <a:t>, </a:t>
            </a:r>
            <a:r>
              <a:rPr lang="en-US" err="1"/>
              <a:t>quamus</a:t>
            </a:r>
            <a:r>
              <a:rPr lang="en-US"/>
              <a:t> </a:t>
            </a:r>
            <a:r>
              <a:rPr lang="en-US" err="1"/>
              <a:t>voluptium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 </a:t>
            </a:r>
            <a:r>
              <a:rPr lang="en-US" err="1"/>
              <a:t>maio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tioria</a:t>
            </a:r>
            <a:r>
              <a:rPr lang="en-US"/>
              <a:t> </a:t>
            </a:r>
            <a:r>
              <a:rPr lang="en-US" err="1"/>
              <a:t>venimetur</a:t>
            </a:r>
            <a:r>
              <a:rPr lang="en-US"/>
              <a:t> re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ent</a:t>
            </a:r>
            <a:r>
              <a:rPr lang="en-US"/>
              <a:t>,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liqui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sin con re </a:t>
            </a:r>
            <a:r>
              <a:rPr lang="en-US" err="1"/>
              <a:t>lau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olupie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 err="1"/>
              <a:t>Henestios</a:t>
            </a:r>
            <a:r>
              <a:rPr lang="en-US"/>
              <a:t> </a:t>
            </a:r>
            <a:r>
              <a:rPr lang="en-US" err="1"/>
              <a:t>vellantium</a:t>
            </a:r>
            <a:r>
              <a:rPr lang="en-US"/>
              <a:t> </a:t>
            </a:r>
            <a:r>
              <a:rPr lang="en-US" err="1"/>
              <a:t>simi</a:t>
            </a:r>
            <a:r>
              <a:rPr lang="en-US"/>
              <a:t>, </a:t>
            </a:r>
            <a:r>
              <a:rPr lang="en-US" err="1"/>
              <a:t>quassenime</a:t>
            </a:r>
            <a:r>
              <a:rPr lang="en-US"/>
              <a:t> consent </a:t>
            </a:r>
            <a:r>
              <a:rPr lang="en-US" err="1"/>
              <a:t>emquatincti</a:t>
            </a:r>
            <a:r>
              <a:rPr lang="en-US"/>
              <a:t> to doles </a:t>
            </a:r>
            <a:r>
              <a:rPr lang="en-US" err="1"/>
              <a:t>cium</a:t>
            </a:r>
            <a:r>
              <a:rPr lang="en-US"/>
              <a:t> </a:t>
            </a:r>
            <a:r>
              <a:rPr lang="en-US" err="1"/>
              <a:t>nectur</a:t>
            </a:r>
            <a:r>
              <a:rPr lang="en-US"/>
              <a:t>. </a:t>
            </a:r>
            <a:r>
              <a:rPr lang="en-US" err="1"/>
              <a:t>Experit</a:t>
            </a:r>
            <a:r>
              <a:rPr lang="en-US"/>
              <a:t> </a:t>
            </a:r>
            <a:r>
              <a:rPr lang="en-US" err="1"/>
              <a:t>occu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ipsuntius</a:t>
            </a:r>
            <a:r>
              <a:rPr lang="en-US"/>
              <a:t> </a:t>
            </a:r>
            <a:r>
              <a:rPr lang="en-US" err="1"/>
              <a:t>quideli</a:t>
            </a:r>
            <a:r>
              <a:rPr lang="en-US"/>
              <a:t> </a:t>
            </a:r>
            <a:r>
              <a:rPr lang="en-US" err="1"/>
              <a:t>tatiis</a:t>
            </a:r>
            <a:r>
              <a:rPr lang="en-US"/>
              <a:t> rem </a:t>
            </a:r>
            <a:r>
              <a:rPr lang="en-US" err="1"/>
              <a:t>restis</a:t>
            </a:r>
            <a:r>
              <a:rPr lang="en-US"/>
              <a:t> pro </a:t>
            </a:r>
            <a:r>
              <a:rPr lang="en-US" err="1"/>
              <a:t>ium</a:t>
            </a:r>
            <a:r>
              <a:rPr lang="en-US"/>
              <a:t> qui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debist</a:t>
            </a:r>
            <a:r>
              <a:rPr lang="en-US"/>
              <a:t> at </a:t>
            </a:r>
            <a:r>
              <a:rPr lang="en-US" err="1"/>
              <a:t>ilit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cus</a:t>
            </a:r>
            <a:r>
              <a:rPr lang="en-US"/>
              <a:t> </a:t>
            </a:r>
            <a:r>
              <a:rPr lang="en-US" err="1"/>
              <a:t>invenim</a:t>
            </a:r>
            <a:r>
              <a:rPr lang="en-US"/>
              <a:t> </a:t>
            </a:r>
            <a:r>
              <a:rPr lang="en-US" err="1"/>
              <a:t>laborro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rectiissunt</a:t>
            </a:r>
            <a:r>
              <a:rPr lang="en-US"/>
              <a:t> et, </a:t>
            </a:r>
            <a:r>
              <a:rPr lang="en-US" err="1"/>
              <a:t>nos</a:t>
            </a:r>
            <a:r>
              <a:rPr lang="en-US"/>
              <a:t> </a:t>
            </a:r>
            <a:r>
              <a:rPr lang="en-US" err="1"/>
              <a:t>doloratia</a:t>
            </a:r>
            <a:r>
              <a:rPr lang="en-US"/>
              <a:t> et </a:t>
            </a:r>
            <a:r>
              <a:rPr lang="en-US" err="1"/>
              <a:t>opta</a:t>
            </a:r>
            <a:r>
              <a:rPr lang="en-US"/>
              <a:t> dis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modis</a:t>
            </a:r>
            <a:r>
              <a:rPr lang="en-US"/>
              <a:t> </a:t>
            </a:r>
            <a:r>
              <a:rPr lang="en-US" err="1"/>
              <a:t>rerat</a:t>
            </a:r>
            <a:r>
              <a:rPr lang="en-US"/>
              <a:t> </a:t>
            </a:r>
            <a:r>
              <a:rPr lang="en-US" err="1"/>
              <a:t>oditatu</a:t>
            </a:r>
            <a:r>
              <a:rPr lang="en-US"/>
              <a:t> </a:t>
            </a:r>
            <a:r>
              <a:rPr lang="en-US" err="1"/>
              <a:t>reseque</a:t>
            </a:r>
            <a:r>
              <a:rPr lang="en-US"/>
              <a:t> </a:t>
            </a:r>
            <a:r>
              <a:rPr lang="en-US" err="1"/>
              <a:t>nisque</a:t>
            </a:r>
            <a:r>
              <a:rPr lang="en-US"/>
              <a:t> rem </a:t>
            </a:r>
            <a:r>
              <a:rPr lang="en-US" err="1"/>
              <a:t>rempore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sit.</a:t>
            </a:r>
          </a:p>
        </p:txBody>
      </p:sp>
    </p:spTree>
    <p:extLst>
      <p:ext uri="{BB962C8B-B14F-4D97-AF65-F5344CB8AC3E}">
        <p14:creationId xmlns:p14="http://schemas.microsoft.com/office/powerpoint/2010/main" val="396252636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8188F8A-125D-8544-935B-1F4A1B40B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C5556D8D-75F5-B941-A727-9FF3FF8CA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2F22885-A2E7-5249-88F5-F3DB020C7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2C72AE40-246A-1E40-81B0-DD0AC2556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8C95446B-784D-4FBD-A3D4-20A46119C20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38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411785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2167044"/>
            <a:ext cx="9144000" cy="2387600"/>
          </a:xfrm>
        </p:spPr>
        <p:txBody>
          <a:bodyPr anchor="ctr">
            <a:normAutofit/>
          </a:bodyPr>
          <a:lstStyle>
            <a:lvl1pPr algn="ctr">
              <a:defRPr sz="480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8227038" y="5548256"/>
            <a:ext cx="3255221" cy="43453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bg1"/>
                </a:solidFill>
                <a:latin typeface="方正兰亭黑简体" panose="02000000000000000000" pitchFamily="2" charset="-122"/>
                <a:ea typeface="方正兰亭黑简体" panose="02000000000000000000" pitchFamily="2" charset="-122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479" y="1326987"/>
            <a:ext cx="3922282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9570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 userDrawn="1"/>
        </p:nvSpPr>
        <p:spPr>
          <a:xfrm>
            <a:off x="579819" y="951941"/>
            <a:ext cx="30123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方正兰亭中黑_GBK" panose="02000000000000000000" pitchFamily="2" charset="-122"/>
                <a:ea typeface="方正兰亭中黑_GBK" panose="02000000000000000000"/>
              </a:rPr>
              <a:t>目录    </a:t>
            </a:r>
            <a:r>
              <a:rPr lang="en-US" altLang="zh-CN" sz="2400" dirty="0">
                <a:solidFill>
                  <a:srgbClr val="00A050"/>
                </a:solidFill>
                <a:latin typeface="方正兰亭中黑_GBK" panose="02000000000000000000" pitchFamily="2" charset="-122"/>
                <a:ea typeface="方正兰亭中黑_GBK" panose="02000000000000000000"/>
              </a:rPr>
              <a:t>CONTENTS</a:t>
            </a:r>
            <a:endParaRPr lang="zh-CN" altLang="en-US" sz="2400" dirty="0">
              <a:solidFill>
                <a:srgbClr val="00A050"/>
              </a:solidFill>
              <a:latin typeface="方正兰亭中黑_GBK" panose="02000000000000000000" pitchFamily="2" charset="-122"/>
              <a:ea typeface="方正兰亭中黑_GBK" panose="02000000000000000000"/>
            </a:endParaRPr>
          </a:p>
        </p:txBody>
      </p:sp>
      <p:sp>
        <p:nvSpPr>
          <p:cNvPr id="4" name="文本框 3"/>
          <p:cNvSpPr txBox="1"/>
          <p:nvPr userDrawn="1"/>
        </p:nvSpPr>
        <p:spPr>
          <a:xfrm>
            <a:off x="1292804" y="999507"/>
            <a:ext cx="33855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方正兰亭黑简体" panose="02000000000000000000" pitchFamily="2" charset="-122"/>
                <a:ea typeface="方正兰亭黑简体" panose="02000000000000000000" pitchFamily="2" charset="-122"/>
              </a:rPr>
              <a:t>|</a:t>
            </a:r>
            <a:endParaRPr lang="zh-CN" altLang="en-US" sz="2000" dirty="0">
              <a:solidFill>
                <a:schemeClr val="bg1"/>
              </a:solidFill>
              <a:latin typeface="方正兰亭黑简体" panose="02000000000000000000" pitchFamily="2" charset="-122"/>
              <a:ea typeface="方正兰亭黑简体" panose="02000000000000000000" pitchFamily="2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413" y="2411309"/>
            <a:ext cx="608490" cy="60252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413" y="3443837"/>
            <a:ext cx="608490" cy="60252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413" y="4476363"/>
            <a:ext cx="608490" cy="60252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073" y="2411309"/>
            <a:ext cx="608490" cy="60252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073" y="3443837"/>
            <a:ext cx="608490" cy="60252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073" y="4476363"/>
            <a:ext cx="608490" cy="602525"/>
          </a:xfrm>
          <a:prstGeom prst="rect">
            <a:avLst/>
          </a:prstGeom>
        </p:spPr>
      </p:pic>
      <p:sp>
        <p:nvSpPr>
          <p:cNvPr id="12" name="文本框 11"/>
          <p:cNvSpPr txBox="1"/>
          <p:nvPr userDrawn="1"/>
        </p:nvSpPr>
        <p:spPr>
          <a:xfrm>
            <a:off x="3416754" y="2437614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3" name="文本框 12"/>
          <p:cNvSpPr txBox="1"/>
          <p:nvPr userDrawn="1"/>
        </p:nvSpPr>
        <p:spPr>
          <a:xfrm>
            <a:off x="7643519" y="2437614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4" name="文本框 13"/>
          <p:cNvSpPr txBox="1"/>
          <p:nvPr userDrawn="1"/>
        </p:nvSpPr>
        <p:spPr>
          <a:xfrm>
            <a:off x="3416754" y="3473312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5" name="文本框 14"/>
          <p:cNvSpPr txBox="1"/>
          <p:nvPr userDrawn="1"/>
        </p:nvSpPr>
        <p:spPr>
          <a:xfrm>
            <a:off x="7643519" y="3473312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6" name="文本框 15"/>
          <p:cNvSpPr txBox="1"/>
          <p:nvPr userDrawn="1"/>
        </p:nvSpPr>
        <p:spPr>
          <a:xfrm>
            <a:off x="3416754" y="4509010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7" name="文本框 16"/>
          <p:cNvSpPr txBox="1"/>
          <p:nvPr userDrawn="1"/>
        </p:nvSpPr>
        <p:spPr>
          <a:xfrm>
            <a:off x="7643519" y="4509010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4316" y="226941"/>
            <a:ext cx="1681198" cy="246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408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内容白底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0552" y="47494"/>
            <a:ext cx="11630025" cy="1152525"/>
          </a:xfrm>
          <a:prstGeom prst="rect">
            <a:avLst/>
          </a:prstGeom>
        </p:spPr>
      </p:pic>
      <p:sp>
        <p:nvSpPr>
          <p:cNvPr id="7" name="文本占位符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804" y="372477"/>
            <a:ext cx="6260245" cy="424732"/>
          </a:xfrm>
        </p:spPr>
        <p:txBody>
          <a:bodyPr wrap="square">
            <a:spAutoFit/>
          </a:bodyPr>
          <a:lstStyle>
            <a:lvl1pPr marL="0" indent="0">
              <a:buNone/>
              <a:defRPr lang="zh-CN" alt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pPr marL="0" lvl="0"/>
            <a:r>
              <a:rPr lang="zh-CN" altLang="en-US" dirty="0"/>
              <a:t>编辑母版文本样式</a:t>
            </a:r>
          </a:p>
        </p:txBody>
      </p:sp>
      <p:sp>
        <p:nvSpPr>
          <p:cNvPr id="8" name="文本占位符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23800" y="968144"/>
            <a:ext cx="5415450" cy="463746"/>
          </a:xfrm>
        </p:spPr>
        <p:txBody>
          <a:bodyPr>
            <a:normAutofit/>
          </a:bodyPr>
          <a:lstStyle>
            <a:lvl1pPr marL="0" indent="0">
              <a:buNone/>
              <a:defRPr sz="2000" b="1" u="sng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pic>
        <p:nvPicPr>
          <p:cNvPr id="9" name="图形 18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03059" y="359435"/>
            <a:ext cx="485775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1691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0552" y="47494"/>
            <a:ext cx="11630025" cy="1152525"/>
          </a:xfrm>
          <a:prstGeom prst="rect">
            <a:avLst/>
          </a:prstGeom>
        </p:spPr>
      </p:pic>
      <p:sp>
        <p:nvSpPr>
          <p:cNvPr id="3" name="文本占位符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804" y="372477"/>
            <a:ext cx="6260245" cy="424732"/>
          </a:xfrm>
        </p:spPr>
        <p:txBody>
          <a:bodyPr wrap="square">
            <a:spAutoFit/>
          </a:bodyPr>
          <a:lstStyle>
            <a:lvl1pPr marL="0" indent="0">
              <a:buNone/>
              <a:defRPr lang="zh-CN" alt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pPr marL="0" lvl="0"/>
            <a:r>
              <a:rPr lang="zh-CN" altLang="en-US" dirty="0"/>
              <a:t>编辑母版文本样式</a:t>
            </a:r>
          </a:p>
        </p:txBody>
      </p:sp>
      <p:sp>
        <p:nvSpPr>
          <p:cNvPr id="4" name="文本占位符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23800" y="968144"/>
            <a:ext cx="5415450" cy="463746"/>
          </a:xfrm>
        </p:spPr>
        <p:txBody>
          <a:bodyPr>
            <a:normAutofit/>
          </a:bodyPr>
          <a:lstStyle>
            <a:lvl1pPr marL="0" indent="0">
              <a:buNone/>
              <a:defRPr sz="2000" b="1" u="sng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pic>
        <p:nvPicPr>
          <p:cNvPr id="5" name="图形 18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03059" y="359435"/>
            <a:ext cx="485775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2351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底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9114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矩形 1"/>
          <p:cNvSpPr/>
          <p:nvPr userDrawn="1"/>
        </p:nvSpPr>
        <p:spPr>
          <a:xfrm>
            <a:off x="0" y="3"/>
            <a:ext cx="12192000" cy="568583"/>
          </a:xfrm>
          <a:prstGeom prst="rect">
            <a:avLst/>
          </a:prstGeom>
          <a:gradFill>
            <a:gsLst>
              <a:gs pos="90000">
                <a:srgbClr val="00AB7A">
                  <a:alpha val="0"/>
                </a:srgbClr>
              </a:gs>
              <a:gs pos="45000">
                <a:srgbClr val="00AB7A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-25000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251683" y="6390861"/>
            <a:ext cx="1028887" cy="271009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47817226-A4A8-4CA8-8499-073E4B5E2127}" type="datetimeFigureOut">
              <a:rPr lang="zh-CN" altLang="en-US" smtClean="0"/>
              <a:t>2025/1/20</a:t>
            </a:fld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170740" y="6397518"/>
            <a:ext cx="789305" cy="278947"/>
          </a:xfrm>
          <a:prstGeom prst="rect">
            <a:avLst/>
          </a:prstGeom>
        </p:spPr>
        <p:txBody>
          <a:bodyPr/>
          <a:lstStyle>
            <a:lvl1pPr algn="ct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CE3A6F2A-4BD1-4B71-A85C-4AC4B8E4C9A9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10" name="AutoShape 31"/>
          <p:cNvSpPr>
            <a:spLocks noChangeAspect="1" noChangeArrowheads="1" noTextEdit="1"/>
          </p:cNvSpPr>
          <p:nvPr/>
        </p:nvSpPr>
        <p:spPr bwMode="auto">
          <a:xfrm>
            <a:off x="573" y="236497"/>
            <a:ext cx="251119" cy="30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sz="1800"/>
          </a:p>
        </p:txBody>
      </p:sp>
      <p:sp>
        <p:nvSpPr>
          <p:cNvPr id="12" name="Freeform 34"/>
          <p:cNvSpPr/>
          <p:nvPr/>
        </p:nvSpPr>
        <p:spPr bwMode="auto">
          <a:xfrm>
            <a:off x="75389" y="193802"/>
            <a:ext cx="145443" cy="145443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sz="1800"/>
          </a:p>
        </p:txBody>
      </p:sp>
      <p:sp>
        <p:nvSpPr>
          <p:cNvPr id="13" name="Freeform 34"/>
          <p:cNvSpPr/>
          <p:nvPr userDrawn="1"/>
        </p:nvSpPr>
        <p:spPr bwMode="auto">
          <a:xfrm>
            <a:off x="232807" y="316433"/>
            <a:ext cx="77055" cy="77055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>
            <a:outerShdw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pPr lvl="0"/>
            <a:endParaRPr lang="zh-CN" altLang="en-US" sz="1800"/>
          </a:p>
        </p:txBody>
      </p:sp>
      <p:sp>
        <p:nvSpPr>
          <p:cNvPr id="48" name="Freeform 14"/>
          <p:cNvSpPr>
            <a:spLocks/>
          </p:cNvSpPr>
          <p:nvPr userDrawn="1"/>
        </p:nvSpPr>
        <p:spPr bwMode="auto">
          <a:xfrm>
            <a:off x="-304374" y="-458083"/>
            <a:ext cx="2678169" cy="1594655"/>
          </a:xfrm>
          <a:custGeom>
            <a:avLst/>
            <a:gdLst>
              <a:gd name="T0" fmla="*/ 233 w 240"/>
              <a:gd name="T1" fmla="*/ 98 h 143"/>
              <a:gd name="T2" fmla="*/ 0 w 240"/>
              <a:gd name="T3" fmla="*/ 52 h 143"/>
              <a:gd name="T4" fmla="*/ 5 w 240"/>
              <a:gd name="T5" fmla="*/ 66 h 143"/>
              <a:gd name="T6" fmla="*/ 37 w 240"/>
              <a:gd name="T7" fmla="*/ 58 h 143"/>
              <a:gd name="T8" fmla="*/ 71 w 240"/>
              <a:gd name="T9" fmla="*/ 58 h 143"/>
              <a:gd name="T10" fmla="*/ 112 w 240"/>
              <a:gd name="T11" fmla="*/ 71 h 143"/>
              <a:gd name="T12" fmla="*/ 148 w 240"/>
              <a:gd name="T13" fmla="*/ 97 h 143"/>
              <a:gd name="T14" fmla="*/ 174 w 240"/>
              <a:gd name="T15" fmla="*/ 122 h 143"/>
              <a:gd name="T16" fmla="*/ 194 w 240"/>
              <a:gd name="T17" fmla="*/ 136 h 143"/>
              <a:gd name="T18" fmla="*/ 233 w 240"/>
              <a:gd name="T19" fmla="*/ 129 h 143"/>
              <a:gd name="T20" fmla="*/ 233 w 240"/>
              <a:gd name="T21" fmla="*/ 98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40" h="143">
                <a:moveTo>
                  <a:pt x="233" y="98"/>
                </a:moveTo>
                <a:cubicBezTo>
                  <a:pt x="183" y="22"/>
                  <a:pt x="77" y="0"/>
                  <a:pt x="0" y="52"/>
                </a:cubicBezTo>
                <a:cubicBezTo>
                  <a:pt x="5" y="66"/>
                  <a:pt x="5" y="66"/>
                  <a:pt x="5" y="66"/>
                </a:cubicBezTo>
                <a:cubicBezTo>
                  <a:pt x="19" y="61"/>
                  <a:pt x="28" y="59"/>
                  <a:pt x="37" y="58"/>
                </a:cubicBezTo>
                <a:cubicBezTo>
                  <a:pt x="47" y="57"/>
                  <a:pt x="58" y="56"/>
                  <a:pt x="71" y="58"/>
                </a:cubicBezTo>
                <a:cubicBezTo>
                  <a:pt x="84" y="60"/>
                  <a:pt x="98" y="64"/>
                  <a:pt x="112" y="71"/>
                </a:cubicBezTo>
                <a:cubicBezTo>
                  <a:pt x="125" y="77"/>
                  <a:pt x="138" y="87"/>
                  <a:pt x="148" y="97"/>
                </a:cubicBezTo>
                <a:cubicBezTo>
                  <a:pt x="159" y="106"/>
                  <a:pt x="166" y="115"/>
                  <a:pt x="174" y="122"/>
                </a:cubicBezTo>
                <a:cubicBezTo>
                  <a:pt x="181" y="129"/>
                  <a:pt x="187" y="133"/>
                  <a:pt x="194" y="136"/>
                </a:cubicBezTo>
                <a:cubicBezTo>
                  <a:pt x="213" y="143"/>
                  <a:pt x="227" y="135"/>
                  <a:pt x="233" y="129"/>
                </a:cubicBezTo>
                <a:cubicBezTo>
                  <a:pt x="240" y="123"/>
                  <a:pt x="238" y="106"/>
                  <a:pt x="233" y="98"/>
                </a:cubicBezTo>
                <a:close/>
              </a:path>
            </a:pathLst>
          </a:custGeom>
          <a:solidFill>
            <a:srgbClr val="FFFFFF">
              <a:alpha val="15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zh-CN" altLang="en-US" sz="2400"/>
          </a:p>
        </p:txBody>
      </p:sp>
      <p:pic>
        <p:nvPicPr>
          <p:cNvPr id="57" name="图片 5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91933" y="149575"/>
            <a:ext cx="1302247" cy="321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435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只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97117"/>
            <a:ext cx="12192000" cy="502848"/>
          </a:xfrm>
          <a:prstGeom prst="rect">
            <a:avLst/>
          </a:prstGeom>
          <a:gradFill>
            <a:gsLst>
              <a:gs pos="89000">
                <a:srgbClr val="00AB7A">
                  <a:alpha val="0"/>
                </a:srgbClr>
              </a:gs>
              <a:gs pos="45000">
                <a:srgbClr val="00AB7A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-25000" dirty="0"/>
          </a:p>
        </p:txBody>
      </p:sp>
      <p:sp>
        <p:nvSpPr>
          <p:cNvPr id="10" name="AutoShape 31"/>
          <p:cNvSpPr>
            <a:spLocks noChangeAspect="1" noChangeArrowheads="1" noTextEdit="1"/>
          </p:cNvSpPr>
          <p:nvPr/>
        </p:nvSpPr>
        <p:spPr bwMode="auto">
          <a:xfrm>
            <a:off x="573" y="236497"/>
            <a:ext cx="251119" cy="30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2" name="Freeform 34"/>
          <p:cNvSpPr>
            <a:spLocks/>
          </p:cNvSpPr>
          <p:nvPr/>
        </p:nvSpPr>
        <p:spPr bwMode="auto">
          <a:xfrm>
            <a:off x="69039" y="219206"/>
            <a:ext cx="145443" cy="145443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3" name="Freeform 34"/>
          <p:cNvSpPr>
            <a:spLocks/>
          </p:cNvSpPr>
          <p:nvPr userDrawn="1"/>
        </p:nvSpPr>
        <p:spPr bwMode="auto">
          <a:xfrm>
            <a:off x="226457" y="341835"/>
            <a:ext cx="77055" cy="77055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>
              <a:alpha val="5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grpSp>
        <p:nvGrpSpPr>
          <p:cNvPr id="42" name="组合 41"/>
          <p:cNvGrpSpPr/>
          <p:nvPr userDrawn="1"/>
        </p:nvGrpSpPr>
        <p:grpSpPr>
          <a:xfrm>
            <a:off x="10482910" y="170737"/>
            <a:ext cx="1375983" cy="344775"/>
            <a:chOff x="7550392" y="-466606"/>
            <a:chExt cx="1031987" cy="258581"/>
          </a:xfrm>
          <a:solidFill>
            <a:srgbClr val="555963"/>
          </a:solidFill>
        </p:grpSpPr>
        <p:sp>
          <p:nvSpPr>
            <p:cNvPr id="19" name="Freeform 5"/>
            <p:cNvSpPr>
              <a:spLocks/>
            </p:cNvSpPr>
            <p:nvPr userDrawn="1"/>
          </p:nvSpPr>
          <p:spPr bwMode="auto">
            <a:xfrm>
              <a:off x="7591672" y="-422211"/>
              <a:ext cx="66982" cy="65424"/>
            </a:xfrm>
            <a:custGeom>
              <a:avLst/>
              <a:gdLst>
                <a:gd name="T0" fmla="*/ 35 w 40"/>
                <a:gd name="T1" fmla="*/ 15 h 39"/>
                <a:gd name="T2" fmla="*/ 25 w 40"/>
                <a:gd name="T3" fmla="*/ 15 h 39"/>
                <a:gd name="T4" fmla="*/ 25 w 40"/>
                <a:gd name="T5" fmla="*/ 4 h 39"/>
                <a:gd name="T6" fmla="*/ 20 w 40"/>
                <a:gd name="T7" fmla="*/ 0 h 39"/>
                <a:gd name="T8" fmla="*/ 16 w 40"/>
                <a:gd name="T9" fmla="*/ 4 h 39"/>
                <a:gd name="T10" fmla="*/ 16 w 40"/>
                <a:gd name="T11" fmla="*/ 15 h 39"/>
                <a:gd name="T12" fmla="*/ 5 w 40"/>
                <a:gd name="T13" fmla="*/ 15 h 39"/>
                <a:gd name="T14" fmla="*/ 0 w 40"/>
                <a:gd name="T15" fmla="*/ 20 h 39"/>
                <a:gd name="T16" fmla="*/ 0 w 40"/>
                <a:gd name="T17" fmla="*/ 20 h 39"/>
                <a:gd name="T18" fmla="*/ 5 w 40"/>
                <a:gd name="T19" fmla="*/ 24 h 39"/>
                <a:gd name="T20" fmla="*/ 16 w 40"/>
                <a:gd name="T21" fmla="*/ 24 h 39"/>
                <a:gd name="T22" fmla="*/ 16 w 40"/>
                <a:gd name="T23" fmla="*/ 35 h 39"/>
                <a:gd name="T24" fmla="*/ 20 w 40"/>
                <a:gd name="T25" fmla="*/ 39 h 39"/>
                <a:gd name="T26" fmla="*/ 25 w 40"/>
                <a:gd name="T27" fmla="*/ 35 h 39"/>
                <a:gd name="T28" fmla="*/ 25 w 40"/>
                <a:gd name="T29" fmla="*/ 24 h 39"/>
                <a:gd name="T30" fmla="*/ 35 w 40"/>
                <a:gd name="T31" fmla="*/ 24 h 39"/>
                <a:gd name="T32" fmla="*/ 40 w 40"/>
                <a:gd name="T33" fmla="*/ 20 h 39"/>
                <a:gd name="T34" fmla="*/ 40 w 40"/>
                <a:gd name="T35" fmla="*/ 20 h 39"/>
                <a:gd name="T36" fmla="*/ 35 w 40"/>
                <a:gd name="T37" fmla="*/ 1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39">
                  <a:moveTo>
                    <a:pt x="35" y="15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2"/>
                    <a:pt x="23" y="0"/>
                    <a:pt x="20" y="0"/>
                  </a:cubicBezTo>
                  <a:cubicBezTo>
                    <a:pt x="18" y="0"/>
                    <a:pt x="16" y="2"/>
                    <a:pt x="16" y="4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2" y="15"/>
                    <a:pt x="0" y="17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2" y="24"/>
                    <a:pt x="5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7"/>
                    <a:pt x="18" y="39"/>
                    <a:pt x="20" y="39"/>
                  </a:cubicBezTo>
                  <a:cubicBezTo>
                    <a:pt x="23" y="39"/>
                    <a:pt x="25" y="37"/>
                    <a:pt x="25" y="35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8" y="24"/>
                    <a:pt x="40" y="22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7"/>
                    <a:pt x="38" y="15"/>
                    <a:pt x="3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7550392" y="-466606"/>
              <a:ext cx="151098" cy="154214"/>
            </a:xfrm>
            <a:custGeom>
              <a:avLst/>
              <a:gdLst>
                <a:gd name="T0" fmla="*/ 84 w 91"/>
                <a:gd name="T1" fmla="*/ 22 h 91"/>
                <a:gd name="T2" fmla="*/ 83 w 91"/>
                <a:gd name="T3" fmla="*/ 20 h 91"/>
                <a:gd name="T4" fmla="*/ 60 w 91"/>
                <a:gd name="T5" fmla="*/ 3 h 91"/>
                <a:gd name="T6" fmla="*/ 59 w 91"/>
                <a:gd name="T7" fmla="*/ 2 h 91"/>
                <a:gd name="T8" fmla="*/ 58 w 91"/>
                <a:gd name="T9" fmla="*/ 2 h 91"/>
                <a:gd name="T10" fmla="*/ 56 w 91"/>
                <a:gd name="T11" fmla="*/ 1 h 91"/>
                <a:gd name="T12" fmla="*/ 55 w 91"/>
                <a:gd name="T13" fmla="*/ 1 h 91"/>
                <a:gd name="T14" fmla="*/ 51 w 91"/>
                <a:gd name="T15" fmla="*/ 1 h 91"/>
                <a:gd name="T16" fmla="*/ 50 w 91"/>
                <a:gd name="T17" fmla="*/ 0 h 91"/>
                <a:gd name="T18" fmla="*/ 48 w 91"/>
                <a:gd name="T19" fmla="*/ 0 h 91"/>
                <a:gd name="T20" fmla="*/ 47 w 91"/>
                <a:gd name="T21" fmla="*/ 0 h 91"/>
                <a:gd name="T22" fmla="*/ 45 w 91"/>
                <a:gd name="T23" fmla="*/ 0 h 91"/>
                <a:gd name="T24" fmla="*/ 8 w 91"/>
                <a:gd name="T25" fmla="*/ 20 h 91"/>
                <a:gd name="T26" fmla="*/ 7 w 91"/>
                <a:gd name="T27" fmla="*/ 21 h 91"/>
                <a:gd name="T28" fmla="*/ 6 w 91"/>
                <a:gd name="T29" fmla="*/ 23 h 91"/>
                <a:gd name="T30" fmla="*/ 5 w 91"/>
                <a:gd name="T31" fmla="*/ 24 h 91"/>
                <a:gd name="T32" fmla="*/ 5 w 91"/>
                <a:gd name="T33" fmla="*/ 25 h 91"/>
                <a:gd name="T34" fmla="*/ 4 w 91"/>
                <a:gd name="T35" fmla="*/ 26 h 91"/>
                <a:gd name="T36" fmla="*/ 0 w 91"/>
                <a:gd name="T37" fmla="*/ 46 h 91"/>
                <a:gd name="T38" fmla="*/ 5 w 91"/>
                <a:gd name="T39" fmla="*/ 66 h 91"/>
                <a:gd name="T40" fmla="*/ 31 w 91"/>
                <a:gd name="T41" fmla="*/ 88 h 91"/>
                <a:gd name="T42" fmla="*/ 32 w 91"/>
                <a:gd name="T43" fmla="*/ 89 h 91"/>
                <a:gd name="T44" fmla="*/ 34 w 91"/>
                <a:gd name="T45" fmla="*/ 89 h 91"/>
                <a:gd name="T46" fmla="*/ 36 w 91"/>
                <a:gd name="T47" fmla="*/ 90 h 91"/>
                <a:gd name="T48" fmla="*/ 45 w 91"/>
                <a:gd name="T49" fmla="*/ 91 h 91"/>
                <a:gd name="T50" fmla="*/ 48 w 91"/>
                <a:gd name="T51" fmla="*/ 91 h 91"/>
                <a:gd name="T52" fmla="*/ 53 w 91"/>
                <a:gd name="T53" fmla="*/ 90 h 91"/>
                <a:gd name="T54" fmla="*/ 54 w 91"/>
                <a:gd name="T55" fmla="*/ 90 h 91"/>
                <a:gd name="T56" fmla="*/ 58 w 91"/>
                <a:gd name="T57" fmla="*/ 89 h 91"/>
                <a:gd name="T58" fmla="*/ 59 w 91"/>
                <a:gd name="T59" fmla="*/ 89 h 91"/>
                <a:gd name="T60" fmla="*/ 61 w 91"/>
                <a:gd name="T61" fmla="*/ 88 h 91"/>
                <a:gd name="T62" fmla="*/ 62 w 91"/>
                <a:gd name="T63" fmla="*/ 88 h 91"/>
                <a:gd name="T64" fmla="*/ 64 w 91"/>
                <a:gd name="T65" fmla="*/ 87 h 91"/>
                <a:gd name="T66" fmla="*/ 65 w 91"/>
                <a:gd name="T67" fmla="*/ 86 h 91"/>
                <a:gd name="T68" fmla="*/ 67 w 91"/>
                <a:gd name="T69" fmla="*/ 85 h 91"/>
                <a:gd name="T70" fmla="*/ 68 w 91"/>
                <a:gd name="T71" fmla="*/ 85 h 91"/>
                <a:gd name="T72" fmla="*/ 91 w 91"/>
                <a:gd name="T73" fmla="*/ 46 h 91"/>
                <a:gd name="T74" fmla="*/ 72 w 91"/>
                <a:gd name="T75" fmla="*/ 77 h 91"/>
                <a:gd name="T76" fmla="*/ 24 w 91"/>
                <a:gd name="T77" fmla="*/ 64 h 91"/>
                <a:gd name="T78" fmla="*/ 8 w 91"/>
                <a:gd name="T79" fmla="*/ 62 h 91"/>
                <a:gd name="T80" fmla="*/ 8 w 91"/>
                <a:gd name="T81" fmla="*/ 62 h 91"/>
                <a:gd name="T82" fmla="*/ 18 w 91"/>
                <a:gd name="T83" fmla="*/ 14 h 91"/>
                <a:gd name="T84" fmla="*/ 67 w 91"/>
                <a:gd name="T85" fmla="*/ 27 h 91"/>
                <a:gd name="T86" fmla="*/ 83 w 91"/>
                <a:gd name="T87" fmla="*/ 29 h 91"/>
                <a:gd name="T88" fmla="*/ 83 w 91"/>
                <a:gd name="T89" fmla="*/ 29 h 91"/>
                <a:gd name="T90" fmla="*/ 72 w 91"/>
                <a:gd name="T91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1" h="91">
                  <a:moveTo>
                    <a:pt x="84" y="22"/>
                  </a:moveTo>
                  <a:cubicBezTo>
                    <a:pt x="84" y="22"/>
                    <a:pt x="84" y="22"/>
                    <a:pt x="84" y="22"/>
                  </a:cubicBezTo>
                  <a:cubicBezTo>
                    <a:pt x="84" y="22"/>
                    <a:pt x="84" y="21"/>
                    <a:pt x="83" y="21"/>
                  </a:cubicBezTo>
                  <a:cubicBezTo>
                    <a:pt x="83" y="21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77" y="12"/>
                    <a:pt x="69" y="6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9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7" y="2"/>
                    <a:pt x="57" y="2"/>
                    <a:pt x="56" y="2"/>
                  </a:cubicBezTo>
                  <a:cubicBezTo>
                    <a:pt x="56" y="2"/>
                    <a:pt x="56" y="2"/>
                    <a:pt x="56" y="1"/>
                  </a:cubicBezTo>
                  <a:cubicBezTo>
                    <a:pt x="56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4" y="1"/>
                    <a:pt x="53" y="1"/>
                    <a:pt x="52" y="1"/>
                  </a:cubicBezTo>
                  <a:cubicBezTo>
                    <a:pt x="52" y="1"/>
                    <a:pt x="52" y="1"/>
                    <a:pt x="51" y="1"/>
                  </a:cubicBezTo>
                  <a:cubicBezTo>
                    <a:pt x="51" y="1"/>
                    <a:pt x="51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5" y="0"/>
                    <a:pt x="45" y="0"/>
                  </a:cubicBezTo>
                  <a:cubicBezTo>
                    <a:pt x="44" y="0"/>
                    <a:pt x="44" y="0"/>
                    <a:pt x="43" y="0"/>
                  </a:cubicBezTo>
                  <a:cubicBezTo>
                    <a:pt x="28" y="1"/>
                    <a:pt x="15" y="9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7" y="20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2"/>
                    <a:pt x="6" y="22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3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5" y="25"/>
                    <a:pt x="5" y="25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1" y="32"/>
                    <a:pt x="0" y="39"/>
                    <a:pt x="0" y="46"/>
                  </a:cubicBezTo>
                  <a:cubicBezTo>
                    <a:pt x="0" y="53"/>
                    <a:pt x="2" y="60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10" y="77"/>
                    <a:pt x="19" y="85"/>
                    <a:pt x="31" y="88"/>
                  </a:cubicBezTo>
                  <a:cubicBezTo>
                    <a:pt x="31" y="88"/>
                    <a:pt x="31" y="88"/>
                    <a:pt x="31" y="88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2" y="89"/>
                    <a:pt x="32" y="89"/>
                    <a:pt x="32" y="89"/>
                  </a:cubicBezTo>
                  <a:cubicBezTo>
                    <a:pt x="32" y="89"/>
                    <a:pt x="32" y="89"/>
                    <a:pt x="33" y="89"/>
                  </a:cubicBezTo>
                  <a:cubicBezTo>
                    <a:pt x="33" y="89"/>
                    <a:pt x="34" y="89"/>
                    <a:pt x="34" y="89"/>
                  </a:cubicBezTo>
                  <a:cubicBezTo>
                    <a:pt x="34" y="89"/>
                    <a:pt x="34" y="90"/>
                    <a:pt x="34" y="90"/>
                  </a:cubicBezTo>
                  <a:cubicBezTo>
                    <a:pt x="35" y="90"/>
                    <a:pt x="35" y="90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9" y="91"/>
                    <a:pt x="42" y="91"/>
                    <a:pt x="45" y="91"/>
                  </a:cubicBezTo>
                  <a:cubicBezTo>
                    <a:pt x="46" y="91"/>
                    <a:pt x="46" y="91"/>
                    <a:pt x="47" y="91"/>
                  </a:cubicBezTo>
                  <a:cubicBezTo>
                    <a:pt x="47" y="91"/>
                    <a:pt x="47" y="91"/>
                    <a:pt x="48" y="91"/>
                  </a:cubicBezTo>
                  <a:cubicBezTo>
                    <a:pt x="49" y="91"/>
                    <a:pt x="51" y="90"/>
                    <a:pt x="53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5" y="90"/>
                    <a:pt x="56" y="89"/>
                    <a:pt x="57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60" y="88"/>
                    <a:pt x="60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7"/>
                    <a:pt x="63" y="87"/>
                    <a:pt x="63" y="87"/>
                  </a:cubicBezTo>
                  <a:cubicBezTo>
                    <a:pt x="63" y="87"/>
                    <a:pt x="64" y="87"/>
                    <a:pt x="64" y="87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5" y="87"/>
                    <a:pt x="65" y="86"/>
                    <a:pt x="65" y="86"/>
                  </a:cubicBezTo>
                  <a:cubicBezTo>
                    <a:pt x="65" y="86"/>
                    <a:pt x="65" y="86"/>
                    <a:pt x="66" y="86"/>
                  </a:cubicBezTo>
                  <a:cubicBezTo>
                    <a:pt x="66" y="86"/>
                    <a:pt x="66" y="86"/>
                    <a:pt x="67" y="85"/>
                  </a:cubicBezTo>
                  <a:cubicBezTo>
                    <a:pt x="67" y="85"/>
                    <a:pt x="67" y="85"/>
                    <a:pt x="67" y="85"/>
                  </a:cubicBezTo>
                  <a:cubicBezTo>
                    <a:pt x="67" y="85"/>
                    <a:pt x="68" y="85"/>
                    <a:pt x="68" y="85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82" y="77"/>
                    <a:pt x="91" y="62"/>
                    <a:pt x="91" y="46"/>
                  </a:cubicBezTo>
                  <a:cubicBezTo>
                    <a:pt x="91" y="37"/>
                    <a:pt x="88" y="29"/>
                    <a:pt x="84" y="22"/>
                  </a:cubicBezTo>
                  <a:close/>
                  <a:moveTo>
                    <a:pt x="72" y="77"/>
                  </a:moveTo>
                  <a:cubicBezTo>
                    <a:pt x="69" y="78"/>
                    <a:pt x="65" y="80"/>
                    <a:pt x="61" y="80"/>
                  </a:cubicBezTo>
                  <a:cubicBezTo>
                    <a:pt x="46" y="82"/>
                    <a:pt x="35" y="76"/>
                    <a:pt x="24" y="64"/>
                  </a:cubicBezTo>
                  <a:cubicBezTo>
                    <a:pt x="22" y="63"/>
                    <a:pt x="19" y="61"/>
                    <a:pt x="18" y="61"/>
                  </a:cubicBezTo>
                  <a:cubicBezTo>
                    <a:pt x="13" y="59"/>
                    <a:pt x="9" y="61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5" y="57"/>
                    <a:pt x="4" y="52"/>
                    <a:pt x="4" y="46"/>
                  </a:cubicBezTo>
                  <a:cubicBezTo>
                    <a:pt x="4" y="33"/>
                    <a:pt x="10" y="22"/>
                    <a:pt x="18" y="14"/>
                  </a:cubicBezTo>
                  <a:cubicBezTo>
                    <a:pt x="21" y="13"/>
                    <a:pt x="25" y="11"/>
                    <a:pt x="29" y="11"/>
                  </a:cubicBezTo>
                  <a:cubicBezTo>
                    <a:pt x="45" y="9"/>
                    <a:pt x="55" y="15"/>
                    <a:pt x="67" y="27"/>
                  </a:cubicBezTo>
                  <a:cubicBezTo>
                    <a:pt x="68" y="28"/>
                    <a:pt x="71" y="30"/>
                    <a:pt x="72" y="30"/>
                  </a:cubicBezTo>
                  <a:cubicBezTo>
                    <a:pt x="77" y="32"/>
                    <a:pt x="81" y="30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5" y="34"/>
                    <a:pt x="86" y="40"/>
                    <a:pt x="86" y="46"/>
                  </a:cubicBezTo>
                  <a:cubicBezTo>
                    <a:pt x="86" y="58"/>
                    <a:pt x="81" y="69"/>
                    <a:pt x="72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7717068" y="-437788"/>
              <a:ext cx="111377" cy="96578"/>
            </a:xfrm>
            <a:custGeom>
              <a:avLst/>
              <a:gdLst>
                <a:gd name="T0" fmla="*/ 67 w 67"/>
                <a:gd name="T1" fmla="*/ 20 h 57"/>
                <a:gd name="T2" fmla="*/ 47 w 67"/>
                <a:gd name="T3" fmla="*/ 0 h 57"/>
                <a:gd name="T4" fmla="*/ 0 w 67"/>
                <a:gd name="T5" fmla="*/ 0 h 57"/>
                <a:gd name="T6" fmla="*/ 0 w 67"/>
                <a:gd name="T7" fmla="*/ 3 h 57"/>
                <a:gd name="T8" fmla="*/ 5 w 67"/>
                <a:gd name="T9" fmla="*/ 8 h 57"/>
                <a:gd name="T10" fmla="*/ 47 w 67"/>
                <a:gd name="T11" fmla="*/ 8 h 57"/>
                <a:gd name="T12" fmla="*/ 58 w 67"/>
                <a:gd name="T13" fmla="*/ 20 h 57"/>
                <a:gd name="T14" fmla="*/ 58 w 67"/>
                <a:gd name="T15" fmla="*/ 22 h 57"/>
                <a:gd name="T16" fmla="*/ 58 w 67"/>
                <a:gd name="T17" fmla="*/ 23 h 57"/>
                <a:gd name="T18" fmla="*/ 57 w 67"/>
                <a:gd name="T19" fmla="*/ 23 h 57"/>
                <a:gd name="T20" fmla="*/ 6 w 67"/>
                <a:gd name="T21" fmla="*/ 23 h 57"/>
                <a:gd name="T22" fmla="*/ 6 w 67"/>
                <a:gd name="T23" fmla="*/ 32 h 57"/>
                <a:gd name="T24" fmla="*/ 57 w 67"/>
                <a:gd name="T25" fmla="*/ 32 h 57"/>
                <a:gd name="T26" fmla="*/ 58 w 67"/>
                <a:gd name="T27" fmla="*/ 32 h 57"/>
                <a:gd name="T28" fmla="*/ 58 w 67"/>
                <a:gd name="T29" fmla="*/ 32 h 57"/>
                <a:gd name="T30" fmla="*/ 58 w 67"/>
                <a:gd name="T31" fmla="*/ 37 h 57"/>
                <a:gd name="T32" fmla="*/ 47 w 67"/>
                <a:gd name="T33" fmla="*/ 48 h 57"/>
                <a:gd name="T34" fmla="*/ 5 w 67"/>
                <a:gd name="T35" fmla="*/ 48 h 57"/>
                <a:gd name="T36" fmla="*/ 0 w 67"/>
                <a:gd name="T37" fmla="*/ 53 h 57"/>
                <a:gd name="T38" fmla="*/ 0 w 67"/>
                <a:gd name="T39" fmla="*/ 57 h 57"/>
                <a:gd name="T40" fmla="*/ 46 w 67"/>
                <a:gd name="T41" fmla="*/ 57 h 57"/>
                <a:gd name="T42" fmla="*/ 60 w 67"/>
                <a:gd name="T43" fmla="*/ 52 h 57"/>
                <a:gd name="T44" fmla="*/ 67 w 67"/>
                <a:gd name="T45" fmla="*/ 37 h 57"/>
                <a:gd name="T46" fmla="*/ 67 w 67"/>
                <a:gd name="T47" fmla="*/ 2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57">
                  <a:moveTo>
                    <a:pt x="67" y="20"/>
                  </a:moveTo>
                  <a:cubicBezTo>
                    <a:pt x="67" y="9"/>
                    <a:pt x="58" y="0"/>
                    <a:pt x="4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2" y="8"/>
                    <a:pt x="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3" y="8"/>
                    <a:pt x="58" y="13"/>
                    <a:pt x="58" y="20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43"/>
                    <a:pt x="53" y="48"/>
                    <a:pt x="47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2" y="48"/>
                    <a:pt x="0" y="51"/>
                    <a:pt x="0" y="53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51" y="57"/>
                    <a:pt x="56" y="55"/>
                    <a:pt x="60" y="52"/>
                  </a:cubicBezTo>
                  <a:cubicBezTo>
                    <a:pt x="64" y="48"/>
                    <a:pt x="67" y="41"/>
                    <a:pt x="67" y="37"/>
                  </a:cubicBezTo>
                  <a:lnTo>
                    <a:pt x="67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7840127" y="-439346"/>
              <a:ext cx="109819" cy="98136"/>
            </a:xfrm>
            <a:custGeom>
              <a:avLst/>
              <a:gdLst>
                <a:gd name="T0" fmla="*/ 0 w 66"/>
                <a:gd name="T1" fmla="*/ 21 h 58"/>
                <a:gd name="T2" fmla="*/ 0 w 66"/>
                <a:gd name="T3" fmla="*/ 38 h 58"/>
                <a:gd name="T4" fmla="*/ 20 w 66"/>
                <a:gd name="T5" fmla="*/ 58 h 58"/>
                <a:gd name="T6" fmla="*/ 51 w 66"/>
                <a:gd name="T7" fmla="*/ 58 h 58"/>
                <a:gd name="T8" fmla="*/ 66 w 66"/>
                <a:gd name="T9" fmla="*/ 43 h 58"/>
                <a:gd name="T10" fmla="*/ 66 w 66"/>
                <a:gd name="T11" fmla="*/ 39 h 58"/>
                <a:gd name="T12" fmla="*/ 51 w 66"/>
                <a:gd name="T13" fmla="*/ 24 h 58"/>
                <a:gd name="T14" fmla="*/ 9 w 66"/>
                <a:gd name="T15" fmla="*/ 24 h 58"/>
                <a:gd name="T16" fmla="*/ 9 w 66"/>
                <a:gd name="T17" fmla="*/ 24 h 58"/>
                <a:gd name="T18" fmla="*/ 9 w 66"/>
                <a:gd name="T19" fmla="*/ 23 h 58"/>
                <a:gd name="T20" fmla="*/ 9 w 66"/>
                <a:gd name="T21" fmla="*/ 21 h 58"/>
                <a:gd name="T22" fmla="*/ 20 w 66"/>
                <a:gd name="T23" fmla="*/ 9 h 58"/>
                <a:gd name="T24" fmla="*/ 61 w 66"/>
                <a:gd name="T25" fmla="*/ 9 h 58"/>
                <a:gd name="T26" fmla="*/ 66 w 66"/>
                <a:gd name="T27" fmla="*/ 4 h 58"/>
                <a:gd name="T28" fmla="*/ 66 w 66"/>
                <a:gd name="T29" fmla="*/ 0 h 58"/>
                <a:gd name="T30" fmla="*/ 20 w 66"/>
                <a:gd name="T31" fmla="*/ 0 h 58"/>
                <a:gd name="T32" fmla="*/ 0 w 66"/>
                <a:gd name="T33" fmla="*/ 21 h 58"/>
                <a:gd name="T34" fmla="*/ 9 w 66"/>
                <a:gd name="T35" fmla="*/ 33 h 58"/>
                <a:gd name="T36" fmla="*/ 51 w 66"/>
                <a:gd name="T37" fmla="*/ 33 h 58"/>
                <a:gd name="T38" fmla="*/ 57 w 66"/>
                <a:gd name="T39" fmla="*/ 39 h 58"/>
                <a:gd name="T40" fmla="*/ 57 w 66"/>
                <a:gd name="T41" fmla="*/ 43 h 58"/>
                <a:gd name="T42" fmla="*/ 51 w 66"/>
                <a:gd name="T43" fmla="*/ 49 h 58"/>
                <a:gd name="T44" fmla="*/ 20 w 66"/>
                <a:gd name="T45" fmla="*/ 49 h 58"/>
                <a:gd name="T46" fmla="*/ 9 w 66"/>
                <a:gd name="T47" fmla="*/ 38 h 58"/>
                <a:gd name="T48" fmla="*/ 9 w 66"/>
                <a:gd name="T49" fmla="*/ 33 h 58"/>
                <a:gd name="T50" fmla="*/ 9 w 66"/>
                <a:gd name="T51" fmla="*/ 3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6" h="58">
                  <a:moveTo>
                    <a:pt x="0" y="21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9" y="58"/>
                    <a:pt x="20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9" y="58"/>
                    <a:pt x="66" y="51"/>
                    <a:pt x="66" y="43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1"/>
                    <a:pt x="59" y="24"/>
                    <a:pt x="51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14"/>
                    <a:pt x="14" y="9"/>
                    <a:pt x="20" y="9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3" y="9"/>
                    <a:pt x="66" y="7"/>
                    <a:pt x="66" y="4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close/>
                  <a:moveTo>
                    <a:pt x="9" y="33"/>
                  </a:moveTo>
                  <a:cubicBezTo>
                    <a:pt x="51" y="33"/>
                    <a:pt x="51" y="33"/>
                    <a:pt x="51" y="33"/>
                  </a:cubicBezTo>
                  <a:cubicBezTo>
                    <a:pt x="54" y="33"/>
                    <a:pt x="57" y="35"/>
                    <a:pt x="57" y="39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7" y="47"/>
                    <a:pt x="54" y="49"/>
                    <a:pt x="51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4" y="49"/>
                    <a:pt x="9" y="44"/>
                    <a:pt x="9" y="3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7961629" y="-439346"/>
              <a:ext cx="109819" cy="98136"/>
            </a:xfrm>
            <a:custGeom>
              <a:avLst/>
              <a:gdLst>
                <a:gd name="T0" fmla="*/ 0 w 66"/>
                <a:gd name="T1" fmla="*/ 38 h 58"/>
                <a:gd name="T2" fmla="*/ 20 w 66"/>
                <a:gd name="T3" fmla="*/ 58 h 58"/>
                <a:gd name="T4" fmla="*/ 46 w 66"/>
                <a:gd name="T5" fmla="*/ 58 h 58"/>
                <a:gd name="T6" fmla="*/ 66 w 66"/>
                <a:gd name="T7" fmla="*/ 38 h 58"/>
                <a:gd name="T8" fmla="*/ 66 w 66"/>
                <a:gd name="T9" fmla="*/ 21 h 58"/>
                <a:gd name="T10" fmla="*/ 46 w 66"/>
                <a:gd name="T11" fmla="*/ 0 h 58"/>
                <a:gd name="T12" fmla="*/ 20 w 66"/>
                <a:gd name="T13" fmla="*/ 0 h 58"/>
                <a:gd name="T14" fmla="*/ 0 w 66"/>
                <a:gd name="T15" fmla="*/ 21 h 58"/>
                <a:gd name="T16" fmla="*/ 0 w 66"/>
                <a:gd name="T17" fmla="*/ 38 h 58"/>
                <a:gd name="T18" fmla="*/ 9 w 66"/>
                <a:gd name="T19" fmla="*/ 21 h 58"/>
                <a:gd name="T20" fmla="*/ 20 w 66"/>
                <a:gd name="T21" fmla="*/ 9 h 58"/>
                <a:gd name="T22" fmla="*/ 46 w 66"/>
                <a:gd name="T23" fmla="*/ 9 h 58"/>
                <a:gd name="T24" fmla="*/ 57 w 66"/>
                <a:gd name="T25" fmla="*/ 21 h 58"/>
                <a:gd name="T26" fmla="*/ 57 w 66"/>
                <a:gd name="T27" fmla="*/ 38 h 58"/>
                <a:gd name="T28" fmla="*/ 46 w 66"/>
                <a:gd name="T29" fmla="*/ 49 h 58"/>
                <a:gd name="T30" fmla="*/ 20 w 66"/>
                <a:gd name="T31" fmla="*/ 49 h 58"/>
                <a:gd name="T32" fmla="*/ 9 w 66"/>
                <a:gd name="T33" fmla="*/ 38 h 58"/>
                <a:gd name="T34" fmla="*/ 9 w 66"/>
                <a:gd name="T35" fmla="*/ 2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58">
                  <a:moveTo>
                    <a:pt x="0" y="38"/>
                  </a:moveTo>
                  <a:cubicBezTo>
                    <a:pt x="0" y="49"/>
                    <a:pt x="9" y="58"/>
                    <a:pt x="20" y="58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57" y="58"/>
                    <a:pt x="66" y="49"/>
                    <a:pt x="66" y="38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9"/>
                    <a:pt x="57" y="0"/>
                    <a:pt x="4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lnTo>
                    <a:pt x="0" y="38"/>
                  </a:lnTo>
                  <a:close/>
                  <a:moveTo>
                    <a:pt x="9" y="21"/>
                  </a:moveTo>
                  <a:cubicBezTo>
                    <a:pt x="9" y="14"/>
                    <a:pt x="14" y="9"/>
                    <a:pt x="20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52" y="9"/>
                    <a:pt x="57" y="14"/>
                    <a:pt x="57" y="21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44"/>
                    <a:pt x="52" y="49"/>
                    <a:pt x="46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4" y="49"/>
                    <a:pt x="9" y="44"/>
                    <a:pt x="9" y="38"/>
                  </a:cubicBezTo>
                  <a:lnTo>
                    <a:pt x="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8465550" y="-439346"/>
              <a:ext cx="115271" cy="30376"/>
            </a:xfrm>
            <a:custGeom>
              <a:avLst/>
              <a:gdLst>
                <a:gd name="T0" fmla="*/ 6 w 69"/>
                <a:gd name="T1" fmla="*/ 18 h 18"/>
                <a:gd name="T2" fmla="*/ 13 w 69"/>
                <a:gd name="T3" fmla="*/ 15 h 18"/>
                <a:gd name="T4" fmla="*/ 17 w 69"/>
                <a:gd name="T5" fmla="*/ 11 h 18"/>
                <a:gd name="T6" fmla="*/ 19 w 69"/>
                <a:gd name="T7" fmla="*/ 9 h 18"/>
                <a:gd name="T8" fmla="*/ 26 w 69"/>
                <a:gd name="T9" fmla="*/ 8 h 18"/>
                <a:gd name="T10" fmla="*/ 45 w 69"/>
                <a:gd name="T11" fmla="*/ 8 h 18"/>
                <a:gd name="T12" fmla="*/ 49 w 69"/>
                <a:gd name="T13" fmla="*/ 9 h 18"/>
                <a:gd name="T14" fmla="*/ 52 w 69"/>
                <a:gd name="T15" fmla="*/ 11 h 18"/>
                <a:gd name="T16" fmla="*/ 56 w 69"/>
                <a:gd name="T17" fmla="*/ 15 h 18"/>
                <a:gd name="T18" fmla="*/ 63 w 69"/>
                <a:gd name="T19" fmla="*/ 18 h 18"/>
                <a:gd name="T20" fmla="*/ 68 w 69"/>
                <a:gd name="T21" fmla="*/ 18 h 18"/>
                <a:gd name="T22" fmla="*/ 69 w 69"/>
                <a:gd name="T23" fmla="*/ 18 h 18"/>
                <a:gd name="T24" fmla="*/ 69 w 69"/>
                <a:gd name="T25" fmla="*/ 11 h 18"/>
                <a:gd name="T26" fmla="*/ 68 w 69"/>
                <a:gd name="T27" fmla="*/ 11 h 18"/>
                <a:gd name="T28" fmla="*/ 63 w 69"/>
                <a:gd name="T29" fmla="*/ 11 h 18"/>
                <a:gd name="T30" fmla="*/ 60 w 69"/>
                <a:gd name="T31" fmla="*/ 9 h 18"/>
                <a:gd name="T32" fmla="*/ 57 w 69"/>
                <a:gd name="T33" fmla="*/ 4 h 18"/>
                <a:gd name="T34" fmla="*/ 54 w 69"/>
                <a:gd name="T35" fmla="*/ 2 h 18"/>
                <a:gd name="T36" fmla="*/ 45 w 69"/>
                <a:gd name="T37" fmla="*/ 0 h 18"/>
                <a:gd name="T38" fmla="*/ 22 w 69"/>
                <a:gd name="T39" fmla="*/ 0 h 18"/>
                <a:gd name="T40" fmla="*/ 12 w 69"/>
                <a:gd name="T41" fmla="*/ 4 h 18"/>
                <a:gd name="T42" fmla="*/ 8 w 69"/>
                <a:gd name="T43" fmla="*/ 9 h 18"/>
                <a:gd name="T44" fmla="*/ 1 w 69"/>
                <a:gd name="T45" fmla="*/ 11 h 18"/>
                <a:gd name="T46" fmla="*/ 0 w 69"/>
                <a:gd name="T47" fmla="*/ 11 h 18"/>
                <a:gd name="T48" fmla="*/ 0 w 69"/>
                <a:gd name="T49" fmla="*/ 18 h 18"/>
                <a:gd name="T50" fmla="*/ 1 w 69"/>
                <a:gd name="T51" fmla="*/ 18 h 18"/>
                <a:gd name="T52" fmla="*/ 6 w 69"/>
                <a:gd name="T5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18">
                  <a:moveTo>
                    <a:pt x="6" y="18"/>
                  </a:moveTo>
                  <a:cubicBezTo>
                    <a:pt x="9" y="18"/>
                    <a:pt x="11" y="17"/>
                    <a:pt x="13" y="15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0"/>
                    <a:pt x="18" y="9"/>
                    <a:pt x="19" y="9"/>
                  </a:cubicBezTo>
                  <a:cubicBezTo>
                    <a:pt x="20" y="8"/>
                    <a:pt x="22" y="8"/>
                    <a:pt x="26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6" y="8"/>
                    <a:pt x="48" y="8"/>
                    <a:pt x="49" y="9"/>
                  </a:cubicBezTo>
                  <a:cubicBezTo>
                    <a:pt x="50" y="9"/>
                    <a:pt x="51" y="10"/>
                    <a:pt x="52" y="11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8" y="17"/>
                    <a:pt x="60" y="18"/>
                    <a:pt x="63" y="18"/>
                  </a:cubicBezTo>
                  <a:cubicBezTo>
                    <a:pt x="64" y="18"/>
                    <a:pt x="66" y="18"/>
                    <a:pt x="68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6" y="11"/>
                    <a:pt x="64" y="11"/>
                    <a:pt x="63" y="11"/>
                  </a:cubicBezTo>
                  <a:cubicBezTo>
                    <a:pt x="62" y="10"/>
                    <a:pt x="61" y="10"/>
                    <a:pt x="60" y="9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6" y="3"/>
                    <a:pt x="55" y="2"/>
                    <a:pt x="54" y="2"/>
                  </a:cubicBezTo>
                  <a:cubicBezTo>
                    <a:pt x="52" y="1"/>
                    <a:pt x="49" y="0"/>
                    <a:pt x="4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7" y="0"/>
                    <a:pt x="14" y="2"/>
                    <a:pt x="12" y="4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11"/>
                    <a:pt x="5" y="11"/>
                    <a:pt x="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3" y="18"/>
                    <a:pt x="4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5" name="Freeform 11"/>
            <p:cNvSpPr>
              <a:spLocks/>
            </p:cNvSpPr>
            <p:nvPr userDrawn="1"/>
          </p:nvSpPr>
          <p:spPr bwMode="auto">
            <a:xfrm>
              <a:off x="8465550" y="-407413"/>
              <a:ext cx="115271" cy="69319"/>
            </a:xfrm>
            <a:custGeom>
              <a:avLst/>
              <a:gdLst>
                <a:gd name="T0" fmla="*/ 38 w 69"/>
                <a:gd name="T1" fmla="*/ 33 h 41"/>
                <a:gd name="T2" fmla="*/ 38 w 69"/>
                <a:gd name="T3" fmla="*/ 23 h 41"/>
                <a:gd name="T4" fmla="*/ 62 w 69"/>
                <a:gd name="T5" fmla="*/ 23 h 41"/>
                <a:gd name="T6" fmla="*/ 67 w 69"/>
                <a:gd name="T7" fmla="*/ 19 h 41"/>
                <a:gd name="T8" fmla="*/ 67 w 69"/>
                <a:gd name="T9" fmla="*/ 15 h 41"/>
                <a:gd name="T10" fmla="*/ 38 w 69"/>
                <a:gd name="T11" fmla="*/ 15 h 41"/>
                <a:gd name="T12" fmla="*/ 38 w 69"/>
                <a:gd name="T13" fmla="*/ 8 h 41"/>
                <a:gd name="T14" fmla="*/ 62 w 69"/>
                <a:gd name="T15" fmla="*/ 8 h 41"/>
                <a:gd name="T16" fmla="*/ 67 w 69"/>
                <a:gd name="T17" fmla="*/ 3 h 41"/>
                <a:gd name="T18" fmla="*/ 67 w 69"/>
                <a:gd name="T19" fmla="*/ 0 h 41"/>
                <a:gd name="T20" fmla="*/ 2 w 69"/>
                <a:gd name="T21" fmla="*/ 0 h 41"/>
                <a:gd name="T22" fmla="*/ 2 w 69"/>
                <a:gd name="T23" fmla="*/ 8 h 41"/>
                <a:gd name="T24" fmla="*/ 30 w 69"/>
                <a:gd name="T25" fmla="*/ 8 h 41"/>
                <a:gd name="T26" fmla="*/ 30 w 69"/>
                <a:gd name="T27" fmla="*/ 15 h 41"/>
                <a:gd name="T28" fmla="*/ 2 w 69"/>
                <a:gd name="T29" fmla="*/ 15 h 41"/>
                <a:gd name="T30" fmla="*/ 2 w 69"/>
                <a:gd name="T31" fmla="*/ 23 h 41"/>
                <a:gd name="T32" fmla="*/ 30 w 69"/>
                <a:gd name="T33" fmla="*/ 23 h 41"/>
                <a:gd name="T34" fmla="*/ 30 w 69"/>
                <a:gd name="T35" fmla="*/ 33 h 41"/>
                <a:gd name="T36" fmla="*/ 0 w 69"/>
                <a:gd name="T37" fmla="*/ 33 h 41"/>
                <a:gd name="T38" fmla="*/ 0 w 69"/>
                <a:gd name="T39" fmla="*/ 41 h 41"/>
                <a:gd name="T40" fmla="*/ 65 w 69"/>
                <a:gd name="T41" fmla="*/ 41 h 41"/>
                <a:gd name="T42" fmla="*/ 69 w 69"/>
                <a:gd name="T43" fmla="*/ 37 h 41"/>
                <a:gd name="T44" fmla="*/ 69 w 69"/>
                <a:gd name="T45" fmla="*/ 33 h 41"/>
                <a:gd name="T46" fmla="*/ 38 w 69"/>
                <a:gd name="T47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9" h="41">
                  <a:moveTo>
                    <a:pt x="38" y="33"/>
                  </a:moveTo>
                  <a:cubicBezTo>
                    <a:pt x="38" y="23"/>
                    <a:pt x="38" y="23"/>
                    <a:pt x="38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5" y="23"/>
                    <a:pt x="67" y="21"/>
                    <a:pt x="67" y="19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5" y="8"/>
                    <a:pt x="67" y="6"/>
                    <a:pt x="67" y="3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7" y="41"/>
                    <a:pt x="69" y="39"/>
                    <a:pt x="69" y="37"/>
                  </a:cubicBezTo>
                  <a:cubicBezTo>
                    <a:pt x="69" y="33"/>
                    <a:pt x="69" y="33"/>
                    <a:pt x="69" y="33"/>
                  </a:cubicBezTo>
                  <a:lnTo>
                    <a:pt x="38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6" name="Freeform 12"/>
            <p:cNvSpPr>
              <a:spLocks/>
            </p:cNvSpPr>
            <p:nvPr userDrawn="1"/>
          </p:nvSpPr>
          <p:spPr bwMode="auto">
            <a:xfrm>
              <a:off x="8339375" y="-439346"/>
              <a:ext cx="112935" cy="27260"/>
            </a:xfrm>
            <a:custGeom>
              <a:avLst/>
              <a:gdLst>
                <a:gd name="T0" fmla="*/ 7 w 68"/>
                <a:gd name="T1" fmla="*/ 13 h 16"/>
                <a:gd name="T2" fmla="*/ 8 w 68"/>
                <a:gd name="T3" fmla="*/ 11 h 16"/>
                <a:gd name="T4" fmla="*/ 13 w 68"/>
                <a:gd name="T5" fmla="*/ 10 h 16"/>
                <a:gd name="T6" fmla="*/ 57 w 68"/>
                <a:gd name="T7" fmla="*/ 10 h 16"/>
                <a:gd name="T8" fmla="*/ 60 w 68"/>
                <a:gd name="T9" fmla="*/ 12 h 16"/>
                <a:gd name="T10" fmla="*/ 61 w 68"/>
                <a:gd name="T11" fmla="*/ 13 h 16"/>
                <a:gd name="T12" fmla="*/ 61 w 68"/>
                <a:gd name="T13" fmla="*/ 16 h 16"/>
                <a:gd name="T14" fmla="*/ 68 w 68"/>
                <a:gd name="T15" fmla="*/ 16 h 16"/>
                <a:gd name="T16" fmla="*/ 68 w 68"/>
                <a:gd name="T17" fmla="*/ 12 h 16"/>
                <a:gd name="T18" fmla="*/ 65 w 68"/>
                <a:gd name="T19" fmla="*/ 6 h 16"/>
                <a:gd name="T20" fmla="*/ 57 w 68"/>
                <a:gd name="T21" fmla="*/ 4 h 16"/>
                <a:gd name="T22" fmla="*/ 38 w 68"/>
                <a:gd name="T23" fmla="*/ 4 h 16"/>
                <a:gd name="T24" fmla="*/ 38 w 68"/>
                <a:gd name="T25" fmla="*/ 0 h 16"/>
                <a:gd name="T26" fmla="*/ 30 w 68"/>
                <a:gd name="T27" fmla="*/ 0 h 16"/>
                <a:gd name="T28" fmla="*/ 30 w 68"/>
                <a:gd name="T29" fmla="*/ 4 h 16"/>
                <a:gd name="T30" fmla="*/ 10 w 68"/>
                <a:gd name="T31" fmla="*/ 4 h 16"/>
                <a:gd name="T32" fmla="*/ 3 w 68"/>
                <a:gd name="T33" fmla="*/ 6 h 16"/>
                <a:gd name="T34" fmla="*/ 0 w 68"/>
                <a:gd name="T35" fmla="*/ 12 h 16"/>
                <a:gd name="T36" fmla="*/ 0 w 68"/>
                <a:gd name="T37" fmla="*/ 16 h 16"/>
                <a:gd name="T38" fmla="*/ 7 w 68"/>
                <a:gd name="T39" fmla="*/ 16 h 16"/>
                <a:gd name="T40" fmla="*/ 7 w 68"/>
                <a:gd name="T41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8" h="16">
                  <a:moveTo>
                    <a:pt x="7" y="13"/>
                  </a:moveTo>
                  <a:cubicBezTo>
                    <a:pt x="7" y="12"/>
                    <a:pt x="8" y="11"/>
                    <a:pt x="8" y="11"/>
                  </a:cubicBezTo>
                  <a:cubicBezTo>
                    <a:pt x="9" y="11"/>
                    <a:pt x="11" y="10"/>
                    <a:pt x="13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8" y="10"/>
                    <a:pt x="59" y="11"/>
                    <a:pt x="60" y="12"/>
                  </a:cubicBezTo>
                  <a:cubicBezTo>
                    <a:pt x="61" y="12"/>
                    <a:pt x="61" y="13"/>
                    <a:pt x="61" y="13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9"/>
                    <a:pt x="67" y="7"/>
                    <a:pt x="65" y="6"/>
                  </a:cubicBezTo>
                  <a:cubicBezTo>
                    <a:pt x="63" y="4"/>
                    <a:pt x="61" y="4"/>
                    <a:pt x="57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4"/>
                    <a:pt x="5" y="4"/>
                    <a:pt x="3" y="6"/>
                  </a:cubicBezTo>
                  <a:cubicBezTo>
                    <a:pt x="1" y="7"/>
                    <a:pt x="0" y="9"/>
                    <a:pt x="0" y="1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7" y="16"/>
                    <a:pt x="7" y="16"/>
                    <a:pt x="7" y="16"/>
                  </a:cubicBezTo>
                  <a:lnTo>
                    <a:pt x="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7" name="Freeform 13"/>
            <p:cNvSpPr>
              <a:spLocks noEditPoints="1"/>
            </p:cNvSpPr>
            <p:nvPr userDrawn="1"/>
          </p:nvSpPr>
          <p:spPr bwMode="auto">
            <a:xfrm>
              <a:off x="8339375" y="-410528"/>
              <a:ext cx="112935" cy="70876"/>
            </a:xfrm>
            <a:custGeom>
              <a:avLst/>
              <a:gdLst>
                <a:gd name="T0" fmla="*/ 64 w 68"/>
                <a:gd name="T1" fmla="*/ 36 h 42"/>
                <a:gd name="T2" fmla="*/ 53 w 68"/>
                <a:gd name="T3" fmla="*/ 35 h 42"/>
                <a:gd name="T4" fmla="*/ 43 w 68"/>
                <a:gd name="T5" fmla="*/ 33 h 42"/>
                <a:gd name="T6" fmla="*/ 55 w 68"/>
                <a:gd name="T7" fmla="*/ 29 h 42"/>
                <a:gd name="T8" fmla="*/ 58 w 68"/>
                <a:gd name="T9" fmla="*/ 26 h 42"/>
                <a:gd name="T10" fmla="*/ 62 w 68"/>
                <a:gd name="T11" fmla="*/ 16 h 42"/>
                <a:gd name="T12" fmla="*/ 62 w 68"/>
                <a:gd name="T13" fmla="*/ 12 h 42"/>
                <a:gd name="T14" fmla="*/ 65 w 68"/>
                <a:gd name="T15" fmla="*/ 12 h 42"/>
                <a:gd name="T16" fmla="*/ 68 w 68"/>
                <a:gd name="T17" fmla="*/ 8 h 42"/>
                <a:gd name="T18" fmla="*/ 68 w 68"/>
                <a:gd name="T19" fmla="*/ 5 h 42"/>
                <a:gd name="T20" fmla="*/ 62 w 68"/>
                <a:gd name="T21" fmla="*/ 5 h 42"/>
                <a:gd name="T22" fmla="*/ 62 w 68"/>
                <a:gd name="T23" fmla="*/ 0 h 42"/>
                <a:gd name="T24" fmla="*/ 55 w 68"/>
                <a:gd name="T25" fmla="*/ 0 h 42"/>
                <a:gd name="T26" fmla="*/ 55 w 68"/>
                <a:gd name="T27" fmla="*/ 5 h 42"/>
                <a:gd name="T28" fmla="*/ 13 w 68"/>
                <a:gd name="T29" fmla="*/ 5 h 42"/>
                <a:gd name="T30" fmla="*/ 13 w 68"/>
                <a:gd name="T31" fmla="*/ 0 h 42"/>
                <a:gd name="T32" fmla="*/ 6 w 68"/>
                <a:gd name="T33" fmla="*/ 0 h 42"/>
                <a:gd name="T34" fmla="*/ 6 w 68"/>
                <a:gd name="T35" fmla="*/ 5 h 42"/>
                <a:gd name="T36" fmla="*/ 0 w 68"/>
                <a:gd name="T37" fmla="*/ 5 h 42"/>
                <a:gd name="T38" fmla="*/ 0 w 68"/>
                <a:gd name="T39" fmla="*/ 12 h 42"/>
                <a:gd name="T40" fmla="*/ 6 w 68"/>
                <a:gd name="T41" fmla="*/ 12 h 42"/>
                <a:gd name="T42" fmla="*/ 6 w 68"/>
                <a:gd name="T43" fmla="*/ 18 h 42"/>
                <a:gd name="T44" fmla="*/ 9 w 68"/>
                <a:gd name="T45" fmla="*/ 25 h 42"/>
                <a:gd name="T46" fmla="*/ 16 w 68"/>
                <a:gd name="T47" fmla="*/ 30 h 42"/>
                <a:gd name="T48" fmla="*/ 25 w 68"/>
                <a:gd name="T49" fmla="*/ 33 h 42"/>
                <a:gd name="T50" fmla="*/ 12 w 68"/>
                <a:gd name="T51" fmla="*/ 35 h 42"/>
                <a:gd name="T52" fmla="*/ 0 w 68"/>
                <a:gd name="T53" fmla="*/ 36 h 42"/>
                <a:gd name="T54" fmla="*/ 0 w 68"/>
                <a:gd name="T55" fmla="*/ 36 h 42"/>
                <a:gd name="T56" fmla="*/ 0 w 68"/>
                <a:gd name="T57" fmla="*/ 42 h 42"/>
                <a:gd name="T58" fmla="*/ 0 w 68"/>
                <a:gd name="T59" fmla="*/ 42 h 42"/>
                <a:gd name="T60" fmla="*/ 27 w 68"/>
                <a:gd name="T61" fmla="*/ 39 h 42"/>
                <a:gd name="T62" fmla="*/ 34 w 68"/>
                <a:gd name="T63" fmla="*/ 37 h 42"/>
                <a:gd name="T64" fmla="*/ 41 w 68"/>
                <a:gd name="T65" fmla="*/ 39 h 42"/>
                <a:gd name="T66" fmla="*/ 54 w 68"/>
                <a:gd name="T67" fmla="*/ 42 h 42"/>
                <a:gd name="T68" fmla="*/ 68 w 68"/>
                <a:gd name="T69" fmla="*/ 42 h 42"/>
                <a:gd name="T70" fmla="*/ 68 w 68"/>
                <a:gd name="T71" fmla="*/ 42 h 42"/>
                <a:gd name="T72" fmla="*/ 68 w 68"/>
                <a:gd name="T73" fmla="*/ 36 h 42"/>
                <a:gd name="T74" fmla="*/ 68 w 68"/>
                <a:gd name="T75" fmla="*/ 36 h 42"/>
                <a:gd name="T76" fmla="*/ 64 w 68"/>
                <a:gd name="T77" fmla="*/ 36 h 42"/>
                <a:gd name="T78" fmla="*/ 55 w 68"/>
                <a:gd name="T79" fmla="*/ 16 h 42"/>
                <a:gd name="T80" fmla="*/ 49 w 68"/>
                <a:gd name="T81" fmla="*/ 24 h 42"/>
                <a:gd name="T82" fmla="*/ 34 w 68"/>
                <a:gd name="T83" fmla="*/ 30 h 42"/>
                <a:gd name="T84" fmla="*/ 19 w 68"/>
                <a:gd name="T85" fmla="*/ 24 h 42"/>
                <a:gd name="T86" fmla="*/ 15 w 68"/>
                <a:gd name="T87" fmla="*/ 21 h 42"/>
                <a:gd name="T88" fmla="*/ 14 w 68"/>
                <a:gd name="T89" fmla="*/ 17 h 42"/>
                <a:gd name="T90" fmla="*/ 13 w 68"/>
                <a:gd name="T91" fmla="*/ 12 h 42"/>
                <a:gd name="T92" fmla="*/ 55 w 68"/>
                <a:gd name="T93" fmla="*/ 12 h 42"/>
                <a:gd name="T94" fmla="*/ 55 w 68"/>
                <a:gd name="T95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8" h="42">
                  <a:moveTo>
                    <a:pt x="64" y="36"/>
                  </a:moveTo>
                  <a:cubicBezTo>
                    <a:pt x="59" y="36"/>
                    <a:pt x="56" y="35"/>
                    <a:pt x="53" y="35"/>
                  </a:cubicBezTo>
                  <a:cubicBezTo>
                    <a:pt x="50" y="35"/>
                    <a:pt x="47" y="34"/>
                    <a:pt x="43" y="33"/>
                  </a:cubicBezTo>
                  <a:cubicBezTo>
                    <a:pt x="50" y="30"/>
                    <a:pt x="54" y="29"/>
                    <a:pt x="55" y="29"/>
                  </a:cubicBezTo>
                  <a:cubicBezTo>
                    <a:pt x="56" y="28"/>
                    <a:pt x="57" y="27"/>
                    <a:pt x="58" y="26"/>
                  </a:cubicBezTo>
                  <a:cubicBezTo>
                    <a:pt x="61" y="24"/>
                    <a:pt x="62" y="21"/>
                    <a:pt x="62" y="16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7" y="12"/>
                    <a:pt x="68" y="10"/>
                    <a:pt x="68" y="8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21"/>
                    <a:pt x="7" y="24"/>
                    <a:pt x="9" y="25"/>
                  </a:cubicBezTo>
                  <a:cubicBezTo>
                    <a:pt x="11" y="27"/>
                    <a:pt x="14" y="29"/>
                    <a:pt x="16" y="30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1" y="34"/>
                    <a:pt x="17" y="35"/>
                    <a:pt x="12" y="35"/>
                  </a:cubicBezTo>
                  <a:cubicBezTo>
                    <a:pt x="9" y="35"/>
                    <a:pt x="5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2" y="42"/>
                    <a:pt x="21" y="41"/>
                    <a:pt x="27" y="39"/>
                  </a:cubicBezTo>
                  <a:cubicBezTo>
                    <a:pt x="28" y="39"/>
                    <a:pt x="31" y="38"/>
                    <a:pt x="34" y="37"/>
                  </a:cubicBezTo>
                  <a:cubicBezTo>
                    <a:pt x="37" y="38"/>
                    <a:pt x="39" y="39"/>
                    <a:pt x="41" y="39"/>
                  </a:cubicBezTo>
                  <a:cubicBezTo>
                    <a:pt x="44" y="40"/>
                    <a:pt x="49" y="41"/>
                    <a:pt x="54" y="42"/>
                  </a:cubicBezTo>
                  <a:cubicBezTo>
                    <a:pt x="58" y="42"/>
                    <a:pt x="63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6" y="36"/>
                    <a:pt x="64" y="36"/>
                    <a:pt x="64" y="36"/>
                  </a:cubicBezTo>
                  <a:close/>
                  <a:moveTo>
                    <a:pt x="55" y="16"/>
                  </a:moveTo>
                  <a:cubicBezTo>
                    <a:pt x="55" y="20"/>
                    <a:pt x="53" y="22"/>
                    <a:pt x="49" y="24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7" y="23"/>
                    <a:pt x="16" y="22"/>
                    <a:pt x="15" y="21"/>
                  </a:cubicBezTo>
                  <a:cubicBezTo>
                    <a:pt x="14" y="20"/>
                    <a:pt x="14" y="19"/>
                    <a:pt x="14" y="17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55" y="12"/>
                    <a:pt x="55" y="12"/>
                    <a:pt x="55" y="12"/>
                  </a:cubicBezTo>
                  <a:lnTo>
                    <a:pt x="5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8" name="Freeform 14"/>
            <p:cNvSpPr>
              <a:spLocks/>
            </p:cNvSpPr>
            <p:nvPr userDrawn="1"/>
          </p:nvSpPr>
          <p:spPr bwMode="auto">
            <a:xfrm>
              <a:off x="8081573" y="-437788"/>
              <a:ext cx="56078" cy="98136"/>
            </a:xfrm>
            <a:custGeom>
              <a:avLst/>
              <a:gdLst>
                <a:gd name="T0" fmla="*/ 0 w 34"/>
                <a:gd name="T1" fmla="*/ 7 h 58"/>
                <a:gd name="T2" fmla="*/ 14 w 34"/>
                <a:gd name="T3" fmla="*/ 7 h 58"/>
                <a:gd name="T4" fmla="*/ 14 w 34"/>
                <a:gd name="T5" fmla="*/ 51 h 58"/>
                <a:gd name="T6" fmla="*/ 9 w 34"/>
                <a:gd name="T7" fmla="*/ 51 h 58"/>
                <a:gd name="T8" fmla="*/ 9 w 34"/>
                <a:gd name="T9" fmla="*/ 15 h 58"/>
                <a:gd name="T10" fmla="*/ 2 w 34"/>
                <a:gd name="T11" fmla="*/ 15 h 58"/>
                <a:gd name="T12" fmla="*/ 2 w 34"/>
                <a:gd name="T13" fmla="*/ 51 h 58"/>
                <a:gd name="T14" fmla="*/ 0 w 34"/>
                <a:gd name="T15" fmla="*/ 51 h 58"/>
                <a:gd name="T16" fmla="*/ 0 w 34"/>
                <a:gd name="T17" fmla="*/ 58 h 58"/>
                <a:gd name="T18" fmla="*/ 27 w 34"/>
                <a:gd name="T19" fmla="*/ 58 h 58"/>
                <a:gd name="T20" fmla="*/ 34 w 34"/>
                <a:gd name="T21" fmla="*/ 51 h 58"/>
                <a:gd name="T22" fmla="*/ 34 w 34"/>
                <a:gd name="T23" fmla="*/ 51 h 58"/>
                <a:gd name="T24" fmla="*/ 21 w 34"/>
                <a:gd name="T25" fmla="*/ 51 h 58"/>
                <a:gd name="T26" fmla="*/ 21 w 34"/>
                <a:gd name="T27" fmla="*/ 29 h 58"/>
                <a:gd name="T28" fmla="*/ 34 w 34"/>
                <a:gd name="T29" fmla="*/ 29 h 58"/>
                <a:gd name="T30" fmla="*/ 34 w 34"/>
                <a:gd name="T31" fmla="*/ 22 h 58"/>
                <a:gd name="T32" fmla="*/ 21 w 34"/>
                <a:gd name="T33" fmla="*/ 22 h 58"/>
                <a:gd name="T34" fmla="*/ 21 w 34"/>
                <a:gd name="T35" fmla="*/ 7 h 58"/>
                <a:gd name="T36" fmla="*/ 27 w 34"/>
                <a:gd name="T37" fmla="*/ 7 h 58"/>
                <a:gd name="T38" fmla="*/ 34 w 34"/>
                <a:gd name="T39" fmla="*/ 1 h 58"/>
                <a:gd name="T40" fmla="*/ 34 w 34"/>
                <a:gd name="T41" fmla="*/ 0 h 58"/>
                <a:gd name="T42" fmla="*/ 0 w 34"/>
                <a:gd name="T43" fmla="*/ 0 h 58"/>
                <a:gd name="T44" fmla="*/ 0 w 34"/>
                <a:gd name="T45" fmla="*/ 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58">
                  <a:moveTo>
                    <a:pt x="0" y="7"/>
                  </a:moveTo>
                  <a:cubicBezTo>
                    <a:pt x="14" y="7"/>
                    <a:pt x="14" y="7"/>
                    <a:pt x="14" y="7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31" y="58"/>
                    <a:pt x="34" y="55"/>
                    <a:pt x="34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31" y="7"/>
                    <a:pt x="34" y="4"/>
                    <a:pt x="34" y="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9" name="Freeform 15"/>
            <p:cNvSpPr>
              <a:spLocks/>
            </p:cNvSpPr>
            <p:nvPr userDrawn="1"/>
          </p:nvSpPr>
          <p:spPr bwMode="auto">
            <a:xfrm>
              <a:off x="8137651" y="-440903"/>
              <a:ext cx="58415" cy="101252"/>
            </a:xfrm>
            <a:custGeom>
              <a:avLst/>
              <a:gdLst>
                <a:gd name="T0" fmla="*/ 30 w 35"/>
                <a:gd name="T1" fmla="*/ 29 h 60"/>
                <a:gd name="T2" fmla="*/ 32 w 35"/>
                <a:gd name="T3" fmla="*/ 12 h 60"/>
                <a:gd name="T4" fmla="*/ 35 w 35"/>
                <a:gd name="T5" fmla="*/ 12 h 60"/>
                <a:gd name="T6" fmla="*/ 35 w 35"/>
                <a:gd name="T7" fmla="*/ 5 h 60"/>
                <a:gd name="T8" fmla="*/ 14 w 35"/>
                <a:gd name="T9" fmla="*/ 5 h 60"/>
                <a:gd name="T10" fmla="*/ 15 w 35"/>
                <a:gd name="T11" fmla="*/ 0 h 60"/>
                <a:gd name="T12" fmla="*/ 7 w 35"/>
                <a:gd name="T13" fmla="*/ 0 h 60"/>
                <a:gd name="T14" fmla="*/ 7 w 35"/>
                <a:gd name="T15" fmla="*/ 1 h 60"/>
                <a:gd name="T16" fmla="*/ 3 w 35"/>
                <a:gd name="T17" fmla="*/ 12 h 60"/>
                <a:gd name="T18" fmla="*/ 1 w 35"/>
                <a:gd name="T19" fmla="*/ 14 h 60"/>
                <a:gd name="T20" fmla="*/ 0 w 35"/>
                <a:gd name="T21" fmla="*/ 14 h 60"/>
                <a:gd name="T22" fmla="*/ 0 w 35"/>
                <a:gd name="T23" fmla="*/ 21 h 60"/>
                <a:gd name="T24" fmla="*/ 1 w 35"/>
                <a:gd name="T25" fmla="*/ 21 h 60"/>
                <a:gd name="T26" fmla="*/ 8 w 35"/>
                <a:gd name="T27" fmla="*/ 18 h 60"/>
                <a:gd name="T28" fmla="*/ 12 w 35"/>
                <a:gd name="T29" fmla="*/ 12 h 60"/>
                <a:gd name="T30" fmla="*/ 24 w 35"/>
                <a:gd name="T31" fmla="*/ 12 h 60"/>
                <a:gd name="T32" fmla="*/ 23 w 35"/>
                <a:gd name="T33" fmla="*/ 29 h 60"/>
                <a:gd name="T34" fmla="*/ 19 w 35"/>
                <a:gd name="T35" fmla="*/ 40 h 60"/>
                <a:gd name="T36" fmla="*/ 15 w 35"/>
                <a:gd name="T37" fmla="*/ 32 h 60"/>
                <a:gd name="T38" fmla="*/ 12 w 35"/>
                <a:gd name="T39" fmla="*/ 20 h 60"/>
                <a:gd name="T40" fmla="*/ 12 w 35"/>
                <a:gd name="T41" fmla="*/ 20 h 60"/>
                <a:gd name="T42" fmla="*/ 5 w 35"/>
                <a:gd name="T43" fmla="*/ 20 h 60"/>
                <a:gd name="T44" fmla="*/ 5 w 35"/>
                <a:gd name="T45" fmla="*/ 20 h 60"/>
                <a:gd name="T46" fmla="*/ 11 w 35"/>
                <a:gd name="T47" fmla="*/ 40 h 60"/>
                <a:gd name="T48" fmla="*/ 14 w 35"/>
                <a:gd name="T49" fmla="*/ 46 h 60"/>
                <a:gd name="T50" fmla="*/ 3 w 35"/>
                <a:gd name="T51" fmla="*/ 53 h 60"/>
                <a:gd name="T52" fmla="*/ 3 w 35"/>
                <a:gd name="T53" fmla="*/ 53 h 60"/>
                <a:gd name="T54" fmla="*/ 3 w 35"/>
                <a:gd name="T55" fmla="*/ 60 h 60"/>
                <a:gd name="T56" fmla="*/ 3 w 35"/>
                <a:gd name="T57" fmla="*/ 60 h 60"/>
                <a:gd name="T58" fmla="*/ 11 w 35"/>
                <a:gd name="T59" fmla="*/ 57 h 60"/>
                <a:gd name="T60" fmla="*/ 19 w 35"/>
                <a:gd name="T61" fmla="*/ 51 h 60"/>
                <a:gd name="T62" fmla="*/ 25 w 35"/>
                <a:gd name="T63" fmla="*/ 55 h 60"/>
                <a:gd name="T64" fmla="*/ 34 w 35"/>
                <a:gd name="T65" fmla="*/ 60 h 60"/>
                <a:gd name="T66" fmla="*/ 35 w 35"/>
                <a:gd name="T67" fmla="*/ 60 h 60"/>
                <a:gd name="T68" fmla="*/ 35 w 35"/>
                <a:gd name="T69" fmla="*/ 53 h 60"/>
                <a:gd name="T70" fmla="*/ 35 w 35"/>
                <a:gd name="T71" fmla="*/ 53 h 60"/>
                <a:gd name="T72" fmla="*/ 24 w 35"/>
                <a:gd name="T73" fmla="*/ 46 h 60"/>
                <a:gd name="T74" fmla="*/ 28 w 35"/>
                <a:gd name="T75" fmla="*/ 38 h 60"/>
                <a:gd name="T76" fmla="*/ 30 w 35"/>
                <a:gd name="T77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" h="60">
                  <a:moveTo>
                    <a:pt x="30" y="29"/>
                  </a:moveTo>
                  <a:cubicBezTo>
                    <a:pt x="31" y="24"/>
                    <a:pt x="31" y="18"/>
                    <a:pt x="32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7"/>
                    <a:pt x="4" y="11"/>
                    <a:pt x="3" y="12"/>
                  </a:cubicBezTo>
                  <a:cubicBezTo>
                    <a:pt x="3" y="13"/>
                    <a:pt x="2" y="14"/>
                    <a:pt x="1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1"/>
                    <a:pt x="6" y="19"/>
                    <a:pt x="8" y="18"/>
                  </a:cubicBezTo>
                  <a:cubicBezTo>
                    <a:pt x="9" y="16"/>
                    <a:pt x="11" y="14"/>
                    <a:pt x="12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3" y="21"/>
                    <a:pt x="23" y="26"/>
                    <a:pt x="23" y="29"/>
                  </a:cubicBezTo>
                  <a:cubicBezTo>
                    <a:pt x="22" y="32"/>
                    <a:pt x="21" y="36"/>
                    <a:pt x="19" y="40"/>
                  </a:cubicBezTo>
                  <a:cubicBezTo>
                    <a:pt x="17" y="37"/>
                    <a:pt x="16" y="35"/>
                    <a:pt x="15" y="32"/>
                  </a:cubicBezTo>
                  <a:cubicBezTo>
                    <a:pt x="14" y="29"/>
                    <a:pt x="13" y="25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7" y="29"/>
                    <a:pt x="9" y="36"/>
                    <a:pt x="11" y="40"/>
                  </a:cubicBezTo>
                  <a:cubicBezTo>
                    <a:pt x="12" y="41"/>
                    <a:pt x="13" y="43"/>
                    <a:pt x="14" y="46"/>
                  </a:cubicBezTo>
                  <a:cubicBezTo>
                    <a:pt x="11" y="49"/>
                    <a:pt x="7" y="51"/>
                    <a:pt x="3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6" y="59"/>
                    <a:pt x="9" y="58"/>
                    <a:pt x="11" y="57"/>
                  </a:cubicBezTo>
                  <a:cubicBezTo>
                    <a:pt x="14" y="55"/>
                    <a:pt x="16" y="54"/>
                    <a:pt x="19" y="51"/>
                  </a:cubicBezTo>
                  <a:cubicBezTo>
                    <a:pt x="21" y="53"/>
                    <a:pt x="23" y="54"/>
                    <a:pt x="25" y="55"/>
                  </a:cubicBezTo>
                  <a:cubicBezTo>
                    <a:pt x="27" y="57"/>
                    <a:pt x="30" y="58"/>
                    <a:pt x="34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0" y="51"/>
                    <a:pt x="27" y="49"/>
                    <a:pt x="24" y="46"/>
                  </a:cubicBezTo>
                  <a:cubicBezTo>
                    <a:pt x="26" y="43"/>
                    <a:pt x="27" y="40"/>
                    <a:pt x="28" y="38"/>
                  </a:cubicBezTo>
                  <a:cubicBezTo>
                    <a:pt x="29" y="35"/>
                    <a:pt x="30" y="32"/>
                    <a:pt x="3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0" name="Freeform 16"/>
            <p:cNvSpPr>
              <a:spLocks/>
            </p:cNvSpPr>
            <p:nvPr userDrawn="1"/>
          </p:nvSpPr>
          <p:spPr bwMode="auto">
            <a:xfrm>
              <a:off x="8209306" y="-414422"/>
              <a:ext cx="113713" cy="74770"/>
            </a:xfrm>
            <a:custGeom>
              <a:avLst/>
              <a:gdLst>
                <a:gd name="T0" fmla="*/ 39 w 68"/>
                <a:gd name="T1" fmla="*/ 21 h 44"/>
                <a:gd name="T2" fmla="*/ 62 w 68"/>
                <a:gd name="T3" fmla="*/ 21 h 44"/>
                <a:gd name="T4" fmla="*/ 68 w 68"/>
                <a:gd name="T5" fmla="*/ 15 h 44"/>
                <a:gd name="T6" fmla="*/ 68 w 68"/>
                <a:gd name="T7" fmla="*/ 13 h 44"/>
                <a:gd name="T8" fmla="*/ 39 w 68"/>
                <a:gd name="T9" fmla="*/ 13 h 44"/>
                <a:gd name="T10" fmla="*/ 39 w 68"/>
                <a:gd name="T11" fmla="*/ 0 h 44"/>
                <a:gd name="T12" fmla="*/ 31 w 68"/>
                <a:gd name="T13" fmla="*/ 0 h 44"/>
                <a:gd name="T14" fmla="*/ 31 w 68"/>
                <a:gd name="T15" fmla="*/ 36 h 44"/>
                <a:gd name="T16" fmla="*/ 16 w 68"/>
                <a:gd name="T17" fmla="*/ 36 h 44"/>
                <a:gd name="T18" fmla="*/ 16 w 68"/>
                <a:gd name="T19" fmla="*/ 10 h 44"/>
                <a:gd name="T20" fmla="*/ 8 w 68"/>
                <a:gd name="T21" fmla="*/ 10 h 44"/>
                <a:gd name="T22" fmla="*/ 8 w 68"/>
                <a:gd name="T23" fmla="*/ 36 h 44"/>
                <a:gd name="T24" fmla="*/ 0 w 68"/>
                <a:gd name="T25" fmla="*/ 36 h 44"/>
                <a:gd name="T26" fmla="*/ 0 w 68"/>
                <a:gd name="T27" fmla="*/ 44 h 44"/>
                <a:gd name="T28" fmla="*/ 62 w 68"/>
                <a:gd name="T29" fmla="*/ 44 h 44"/>
                <a:gd name="T30" fmla="*/ 68 w 68"/>
                <a:gd name="T31" fmla="*/ 38 h 44"/>
                <a:gd name="T32" fmla="*/ 68 w 68"/>
                <a:gd name="T33" fmla="*/ 36 h 44"/>
                <a:gd name="T34" fmla="*/ 39 w 68"/>
                <a:gd name="T35" fmla="*/ 36 h 44"/>
                <a:gd name="T36" fmla="*/ 39 w 68"/>
                <a:gd name="T37" fmla="*/ 2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8" h="44">
                  <a:moveTo>
                    <a:pt x="39" y="21"/>
                  </a:moveTo>
                  <a:cubicBezTo>
                    <a:pt x="62" y="21"/>
                    <a:pt x="62" y="21"/>
                    <a:pt x="62" y="21"/>
                  </a:cubicBezTo>
                  <a:cubicBezTo>
                    <a:pt x="65" y="21"/>
                    <a:pt x="68" y="18"/>
                    <a:pt x="68" y="15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5" y="44"/>
                    <a:pt x="68" y="41"/>
                    <a:pt x="68" y="38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39" y="36"/>
                    <a:pt x="39" y="36"/>
                    <a:pt x="39" y="36"/>
                  </a:cubicBezTo>
                  <a:lnTo>
                    <a:pt x="3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1" name="Freeform 17"/>
            <p:cNvSpPr>
              <a:spLocks/>
            </p:cNvSpPr>
            <p:nvPr userDrawn="1"/>
          </p:nvSpPr>
          <p:spPr bwMode="auto">
            <a:xfrm>
              <a:off x="8209306" y="-440903"/>
              <a:ext cx="115271" cy="40501"/>
            </a:xfrm>
            <a:custGeom>
              <a:avLst/>
              <a:gdLst>
                <a:gd name="T0" fmla="*/ 68 w 69"/>
                <a:gd name="T1" fmla="*/ 17 h 24"/>
                <a:gd name="T2" fmla="*/ 63 w 69"/>
                <a:gd name="T3" fmla="*/ 16 h 24"/>
                <a:gd name="T4" fmla="*/ 60 w 69"/>
                <a:gd name="T5" fmla="*/ 13 h 24"/>
                <a:gd name="T6" fmla="*/ 56 w 69"/>
                <a:gd name="T7" fmla="*/ 7 h 24"/>
                <a:gd name="T8" fmla="*/ 52 w 69"/>
                <a:gd name="T9" fmla="*/ 2 h 24"/>
                <a:gd name="T10" fmla="*/ 44 w 69"/>
                <a:gd name="T11" fmla="*/ 0 h 24"/>
                <a:gd name="T12" fmla="*/ 22 w 69"/>
                <a:gd name="T13" fmla="*/ 0 h 24"/>
                <a:gd name="T14" fmla="*/ 11 w 69"/>
                <a:gd name="T15" fmla="*/ 7 h 24"/>
                <a:gd name="T16" fmla="*/ 8 w 69"/>
                <a:gd name="T17" fmla="*/ 13 h 24"/>
                <a:gd name="T18" fmla="*/ 4 w 69"/>
                <a:gd name="T19" fmla="*/ 17 h 24"/>
                <a:gd name="T20" fmla="*/ 0 w 69"/>
                <a:gd name="T21" fmla="*/ 17 h 24"/>
                <a:gd name="T22" fmla="*/ 0 w 69"/>
                <a:gd name="T23" fmla="*/ 17 h 24"/>
                <a:gd name="T24" fmla="*/ 0 w 69"/>
                <a:gd name="T25" fmla="*/ 24 h 24"/>
                <a:gd name="T26" fmla="*/ 0 w 69"/>
                <a:gd name="T27" fmla="*/ 24 h 24"/>
                <a:gd name="T28" fmla="*/ 8 w 69"/>
                <a:gd name="T29" fmla="*/ 23 h 24"/>
                <a:gd name="T30" fmla="*/ 15 w 69"/>
                <a:gd name="T31" fmla="*/ 17 h 24"/>
                <a:gd name="T32" fmla="*/ 18 w 69"/>
                <a:gd name="T33" fmla="*/ 10 h 24"/>
                <a:gd name="T34" fmla="*/ 20 w 69"/>
                <a:gd name="T35" fmla="*/ 8 h 24"/>
                <a:gd name="T36" fmla="*/ 23 w 69"/>
                <a:gd name="T37" fmla="*/ 8 h 24"/>
                <a:gd name="T38" fmla="*/ 44 w 69"/>
                <a:gd name="T39" fmla="*/ 8 h 24"/>
                <a:gd name="T40" fmla="*/ 48 w 69"/>
                <a:gd name="T41" fmla="*/ 8 h 24"/>
                <a:gd name="T42" fmla="*/ 50 w 69"/>
                <a:gd name="T43" fmla="*/ 10 h 24"/>
                <a:gd name="T44" fmla="*/ 54 w 69"/>
                <a:gd name="T45" fmla="*/ 18 h 24"/>
                <a:gd name="T46" fmla="*/ 59 w 69"/>
                <a:gd name="T47" fmla="*/ 23 h 24"/>
                <a:gd name="T48" fmla="*/ 68 w 69"/>
                <a:gd name="T49" fmla="*/ 24 h 24"/>
                <a:gd name="T50" fmla="*/ 69 w 69"/>
                <a:gd name="T51" fmla="*/ 24 h 24"/>
                <a:gd name="T52" fmla="*/ 69 w 69"/>
                <a:gd name="T53" fmla="*/ 17 h 24"/>
                <a:gd name="T54" fmla="*/ 68 w 69"/>
                <a:gd name="T55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9" h="24">
                  <a:moveTo>
                    <a:pt x="68" y="17"/>
                  </a:moveTo>
                  <a:cubicBezTo>
                    <a:pt x="66" y="17"/>
                    <a:pt x="64" y="17"/>
                    <a:pt x="63" y="16"/>
                  </a:cubicBezTo>
                  <a:cubicBezTo>
                    <a:pt x="61" y="16"/>
                    <a:pt x="60" y="15"/>
                    <a:pt x="60" y="13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5" y="4"/>
                    <a:pt x="54" y="3"/>
                    <a:pt x="52" y="2"/>
                  </a:cubicBezTo>
                  <a:cubicBezTo>
                    <a:pt x="51" y="1"/>
                    <a:pt x="48" y="0"/>
                    <a:pt x="4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7" y="0"/>
                    <a:pt x="13" y="3"/>
                    <a:pt x="11" y="7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5"/>
                    <a:pt x="6" y="16"/>
                    <a:pt x="4" y="17"/>
                  </a:cubicBezTo>
                  <a:cubicBezTo>
                    <a:pt x="4" y="17"/>
                    <a:pt x="2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24"/>
                    <a:pt x="6" y="24"/>
                    <a:pt x="8" y="23"/>
                  </a:cubicBezTo>
                  <a:cubicBezTo>
                    <a:pt x="11" y="22"/>
                    <a:pt x="13" y="20"/>
                    <a:pt x="15" y="17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9"/>
                    <a:pt x="19" y="9"/>
                    <a:pt x="20" y="8"/>
                  </a:cubicBezTo>
                  <a:cubicBezTo>
                    <a:pt x="21" y="8"/>
                    <a:pt x="21" y="8"/>
                    <a:pt x="23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6" y="8"/>
                    <a:pt x="47" y="8"/>
                    <a:pt x="48" y="8"/>
                  </a:cubicBezTo>
                  <a:cubicBezTo>
                    <a:pt x="49" y="8"/>
                    <a:pt x="49" y="9"/>
                    <a:pt x="50" y="10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20"/>
                    <a:pt x="57" y="22"/>
                    <a:pt x="59" y="23"/>
                  </a:cubicBezTo>
                  <a:cubicBezTo>
                    <a:pt x="61" y="24"/>
                    <a:pt x="64" y="24"/>
                    <a:pt x="68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17"/>
                    <a:pt x="69" y="17"/>
                    <a:pt x="69" y="17"/>
                  </a:cubicBezTo>
                  <a:lnTo>
                    <a:pt x="6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2" name="Freeform 18"/>
            <p:cNvSpPr>
              <a:spLocks noEditPoints="1"/>
            </p:cNvSpPr>
            <p:nvPr userDrawn="1"/>
          </p:nvSpPr>
          <p:spPr bwMode="auto">
            <a:xfrm>
              <a:off x="7600239" y="-267218"/>
              <a:ext cx="59972" cy="59193"/>
            </a:xfrm>
            <a:custGeom>
              <a:avLst/>
              <a:gdLst>
                <a:gd name="T0" fmla="*/ 6 w 36"/>
                <a:gd name="T1" fmla="*/ 20 h 35"/>
                <a:gd name="T2" fmla="*/ 10 w 36"/>
                <a:gd name="T3" fmla="*/ 19 h 35"/>
                <a:gd name="T4" fmla="*/ 18 w 36"/>
                <a:gd name="T5" fmla="*/ 20 h 35"/>
                <a:gd name="T6" fmla="*/ 14 w 36"/>
                <a:gd name="T7" fmla="*/ 29 h 35"/>
                <a:gd name="T8" fmla="*/ 16 w 36"/>
                <a:gd name="T9" fmla="*/ 33 h 35"/>
                <a:gd name="T10" fmla="*/ 2 w 36"/>
                <a:gd name="T11" fmla="*/ 35 h 35"/>
                <a:gd name="T12" fmla="*/ 9 w 36"/>
                <a:gd name="T13" fmla="*/ 29 h 35"/>
                <a:gd name="T14" fmla="*/ 5 w 36"/>
                <a:gd name="T15" fmla="*/ 23 h 35"/>
                <a:gd name="T16" fmla="*/ 1 w 36"/>
                <a:gd name="T17" fmla="*/ 20 h 35"/>
                <a:gd name="T18" fmla="*/ 9 w 36"/>
                <a:gd name="T19" fmla="*/ 8 h 35"/>
                <a:gd name="T20" fmla="*/ 12 w 36"/>
                <a:gd name="T21" fmla="*/ 0 h 35"/>
                <a:gd name="T22" fmla="*/ 19 w 36"/>
                <a:gd name="T23" fmla="*/ 8 h 35"/>
                <a:gd name="T24" fmla="*/ 12 w 36"/>
                <a:gd name="T25" fmla="*/ 11 h 35"/>
                <a:gd name="T26" fmla="*/ 13 w 36"/>
                <a:gd name="T27" fmla="*/ 12 h 35"/>
                <a:gd name="T28" fmla="*/ 17 w 36"/>
                <a:gd name="T29" fmla="*/ 18 h 35"/>
                <a:gd name="T30" fmla="*/ 12 w 36"/>
                <a:gd name="T31" fmla="*/ 18 h 35"/>
                <a:gd name="T32" fmla="*/ 9 w 36"/>
                <a:gd name="T33" fmla="*/ 13 h 35"/>
                <a:gd name="T34" fmla="*/ 0 w 36"/>
                <a:gd name="T35" fmla="*/ 17 h 35"/>
                <a:gd name="T36" fmla="*/ 1 w 36"/>
                <a:gd name="T37" fmla="*/ 11 h 35"/>
                <a:gd name="T38" fmla="*/ 2 w 36"/>
                <a:gd name="T39" fmla="*/ 3 h 35"/>
                <a:gd name="T40" fmla="*/ 7 w 36"/>
                <a:gd name="T41" fmla="*/ 6 h 35"/>
                <a:gd name="T42" fmla="*/ 2 w 36"/>
                <a:gd name="T43" fmla="*/ 3 h 35"/>
                <a:gd name="T44" fmla="*/ 11 w 36"/>
                <a:gd name="T45" fmla="*/ 28 h 35"/>
                <a:gd name="T46" fmla="*/ 8 w 36"/>
                <a:gd name="T47" fmla="*/ 23 h 35"/>
                <a:gd name="T48" fmla="*/ 17 w 36"/>
                <a:gd name="T49" fmla="*/ 1 h 35"/>
                <a:gd name="T50" fmla="*/ 15 w 36"/>
                <a:gd name="T51" fmla="*/ 7 h 35"/>
                <a:gd name="T52" fmla="*/ 17 w 36"/>
                <a:gd name="T53" fmla="*/ 1 h 35"/>
                <a:gd name="T54" fmla="*/ 26 w 36"/>
                <a:gd name="T55" fmla="*/ 1 h 35"/>
                <a:gd name="T56" fmla="*/ 35 w 36"/>
                <a:gd name="T57" fmla="*/ 7 h 35"/>
                <a:gd name="T58" fmla="*/ 33 w 36"/>
                <a:gd name="T59" fmla="*/ 9 h 35"/>
                <a:gd name="T60" fmla="*/ 36 w 36"/>
                <a:gd name="T61" fmla="*/ 32 h 35"/>
                <a:gd name="T62" fmla="*/ 27 w 36"/>
                <a:gd name="T63" fmla="*/ 28 h 35"/>
                <a:gd name="T64" fmla="*/ 17 w 36"/>
                <a:gd name="T65" fmla="*/ 33 h 35"/>
                <a:gd name="T66" fmla="*/ 21 w 36"/>
                <a:gd name="T67" fmla="*/ 14 h 35"/>
                <a:gd name="T68" fmla="*/ 18 w 36"/>
                <a:gd name="T69" fmla="*/ 14 h 35"/>
                <a:gd name="T70" fmla="*/ 30 w 36"/>
                <a:gd name="T71" fmla="*/ 9 h 35"/>
                <a:gd name="T72" fmla="*/ 23 w 36"/>
                <a:gd name="T73" fmla="*/ 10 h 35"/>
                <a:gd name="T74" fmla="*/ 30 w 36"/>
                <a:gd name="T7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" h="35">
                  <a:moveTo>
                    <a:pt x="1" y="20"/>
                  </a:moveTo>
                  <a:cubicBezTo>
                    <a:pt x="6" y="20"/>
                    <a:pt x="6" y="20"/>
                    <a:pt x="6" y="20"/>
                  </a:cubicBezTo>
                  <a:cubicBezTo>
                    <a:pt x="7" y="20"/>
                    <a:pt x="7" y="19"/>
                    <a:pt x="8" y="18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9" y="20"/>
                    <a:pt x="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7" y="25"/>
                    <a:pt x="15" y="27"/>
                    <a:pt x="14" y="29"/>
                  </a:cubicBezTo>
                  <a:cubicBezTo>
                    <a:pt x="15" y="29"/>
                    <a:pt x="16" y="30"/>
                    <a:pt x="18" y="31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5" y="32"/>
                    <a:pt x="13" y="31"/>
                    <a:pt x="12" y="31"/>
                  </a:cubicBezTo>
                  <a:cubicBezTo>
                    <a:pt x="9" y="32"/>
                    <a:pt x="6" y="34"/>
                    <a:pt x="2" y="35"/>
                  </a:cubicBezTo>
                  <a:cubicBezTo>
                    <a:pt x="1" y="34"/>
                    <a:pt x="1" y="33"/>
                    <a:pt x="0" y="33"/>
                  </a:cubicBezTo>
                  <a:cubicBezTo>
                    <a:pt x="4" y="32"/>
                    <a:pt x="7" y="31"/>
                    <a:pt x="9" y="29"/>
                  </a:cubicBezTo>
                  <a:cubicBezTo>
                    <a:pt x="7" y="28"/>
                    <a:pt x="5" y="27"/>
                    <a:pt x="3" y="26"/>
                  </a:cubicBezTo>
                  <a:cubicBezTo>
                    <a:pt x="3" y="25"/>
                    <a:pt x="4" y="24"/>
                    <a:pt x="5" y="23"/>
                  </a:cubicBezTo>
                  <a:cubicBezTo>
                    <a:pt x="1" y="23"/>
                    <a:pt x="1" y="23"/>
                    <a:pt x="1" y="23"/>
                  </a:cubicBezTo>
                  <a:lnTo>
                    <a:pt x="1" y="20"/>
                  </a:lnTo>
                  <a:close/>
                  <a:moveTo>
                    <a:pt x="1" y="8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13"/>
                    <a:pt x="17" y="15"/>
                    <a:pt x="18" y="16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5" y="17"/>
                    <a:pt x="14" y="15"/>
                    <a:pt x="12" y="1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5"/>
                    <a:pt x="5" y="17"/>
                    <a:pt x="2" y="19"/>
                  </a:cubicBezTo>
                  <a:cubicBezTo>
                    <a:pt x="1" y="18"/>
                    <a:pt x="1" y="17"/>
                    <a:pt x="0" y="17"/>
                  </a:cubicBezTo>
                  <a:cubicBezTo>
                    <a:pt x="3" y="15"/>
                    <a:pt x="6" y="13"/>
                    <a:pt x="8" y="11"/>
                  </a:cubicBezTo>
                  <a:cubicBezTo>
                    <a:pt x="1" y="11"/>
                    <a:pt x="1" y="11"/>
                    <a:pt x="1" y="11"/>
                  </a:cubicBezTo>
                  <a:lnTo>
                    <a:pt x="1" y="8"/>
                  </a:lnTo>
                  <a:close/>
                  <a:moveTo>
                    <a:pt x="2" y="3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5" y="3"/>
                    <a:pt x="6" y="4"/>
                    <a:pt x="7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6"/>
                    <a:pt x="3" y="4"/>
                    <a:pt x="2" y="3"/>
                  </a:cubicBezTo>
                  <a:close/>
                  <a:moveTo>
                    <a:pt x="6" y="25"/>
                  </a:moveTo>
                  <a:cubicBezTo>
                    <a:pt x="8" y="26"/>
                    <a:pt x="9" y="27"/>
                    <a:pt x="11" y="28"/>
                  </a:cubicBezTo>
                  <a:cubicBezTo>
                    <a:pt x="13" y="26"/>
                    <a:pt x="14" y="25"/>
                    <a:pt x="15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4"/>
                    <a:pt x="7" y="24"/>
                    <a:pt x="6" y="25"/>
                  </a:cubicBezTo>
                  <a:close/>
                  <a:moveTo>
                    <a:pt x="17" y="1"/>
                  </a:moveTo>
                  <a:cubicBezTo>
                    <a:pt x="19" y="3"/>
                    <a:pt x="19" y="3"/>
                    <a:pt x="19" y="3"/>
                  </a:cubicBezTo>
                  <a:cubicBezTo>
                    <a:pt x="18" y="4"/>
                    <a:pt x="17" y="6"/>
                    <a:pt x="15" y="7"/>
                  </a:cubicBezTo>
                  <a:cubicBezTo>
                    <a:pt x="15" y="7"/>
                    <a:pt x="14" y="7"/>
                    <a:pt x="14" y="6"/>
                  </a:cubicBezTo>
                  <a:cubicBezTo>
                    <a:pt x="15" y="5"/>
                    <a:pt x="16" y="3"/>
                    <a:pt x="17" y="1"/>
                  </a:cubicBezTo>
                  <a:close/>
                  <a:moveTo>
                    <a:pt x="23" y="0"/>
                  </a:moveTo>
                  <a:cubicBezTo>
                    <a:pt x="26" y="1"/>
                    <a:pt x="26" y="1"/>
                    <a:pt x="26" y="1"/>
                  </a:cubicBezTo>
                  <a:cubicBezTo>
                    <a:pt x="26" y="3"/>
                    <a:pt x="25" y="5"/>
                    <a:pt x="2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16"/>
                    <a:pt x="31" y="22"/>
                    <a:pt x="29" y="26"/>
                  </a:cubicBezTo>
                  <a:cubicBezTo>
                    <a:pt x="31" y="28"/>
                    <a:pt x="33" y="30"/>
                    <a:pt x="36" y="32"/>
                  </a:cubicBezTo>
                  <a:cubicBezTo>
                    <a:pt x="35" y="33"/>
                    <a:pt x="34" y="34"/>
                    <a:pt x="34" y="35"/>
                  </a:cubicBezTo>
                  <a:cubicBezTo>
                    <a:pt x="31" y="33"/>
                    <a:pt x="29" y="31"/>
                    <a:pt x="27" y="28"/>
                  </a:cubicBezTo>
                  <a:cubicBezTo>
                    <a:pt x="25" y="31"/>
                    <a:pt x="22" y="33"/>
                    <a:pt x="19" y="35"/>
                  </a:cubicBezTo>
                  <a:cubicBezTo>
                    <a:pt x="19" y="35"/>
                    <a:pt x="18" y="34"/>
                    <a:pt x="17" y="33"/>
                  </a:cubicBezTo>
                  <a:cubicBezTo>
                    <a:pt x="20" y="31"/>
                    <a:pt x="23" y="28"/>
                    <a:pt x="25" y="26"/>
                  </a:cubicBezTo>
                  <a:cubicBezTo>
                    <a:pt x="23" y="22"/>
                    <a:pt x="22" y="19"/>
                    <a:pt x="21" y="14"/>
                  </a:cubicBezTo>
                  <a:cubicBezTo>
                    <a:pt x="21" y="15"/>
                    <a:pt x="20" y="16"/>
                    <a:pt x="20" y="17"/>
                  </a:cubicBezTo>
                  <a:cubicBezTo>
                    <a:pt x="19" y="16"/>
                    <a:pt x="19" y="15"/>
                    <a:pt x="18" y="14"/>
                  </a:cubicBezTo>
                  <a:cubicBezTo>
                    <a:pt x="21" y="11"/>
                    <a:pt x="23" y="6"/>
                    <a:pt x="23" y="0"/>
                  </a:cubicBezTo>
                  <a:close/>
                  <a:moveTo>
                    <a:pt x="30" y="9"/>
                  </a:moveTo>
                  <a:cubicBezTo>
                    <a:pt x="24" y="9"/>
                    <a:pt x="24" y="9"/>
                    <a:pt x="24" y="9"/>
                  </a:cubicBezTo>
                  <a:cubicBezTo>
                    <a:pt x="24" y="10"/>
                    <a:pt x="23" y="10"/>
                    <a:pt x="23" y="10"/>
                  </a:cubicBezTo>
                  <a:cubicBezTo>
                    <a:pt x="24" y="15"/>
                    <a:pt x="25" y="19"/>
                    <a:pt x="27" y="23"/>
                  </a:cubicBezTo>
                  <a:cubicBezTo>
                    <a:pt x="29" y="20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3" name="Freeform 19"/>
            <p:cNvSpPr>
              <a:spLocks noEditPoints="1"/>
            </p:cNvSpPr>
            <p:nvPr userDrawn="1"/>
          </p:nvSpPr>
          <p:spPr bwMode="auto">
            <a:xfrm>
              <a:off x="7717068" y="-267218"/>
              <a:ext cx="57635" cy="57636"/>
            </a:xfrm>
            <a:custGeom>
              <a:avLst/>
              <a:gdLst>
                <a:gd name="T0" fmla="*/ 0 w 35"/>
                <a:gd name="T1" fmla="*/ 21 h 34"/>
                <a:gd name="T2" fmla="*/ 17 w 35"/>
                <a:gd name="T3" fmla="*/ 21 h 34"/>
                <a:gd name="T4" fmla="*/ 17 w 35"/>
                <a:gd name="T5" fmla="*/ 19 h 34"/>
                <a:gd name="T6" fmla="*/ 23 w 35"/>
                <a:gd name="T7" fmla="*/ 14 h 34"/>
                <a:gd name="T8" fmla="*/ 6 w 35"/>
                <a:gd name="T9" fmla="*/ 14 h 34"/>
                <a:gd name="T10" fmla="*/ 6 w 35"/>
                <a:gd name="T11" fmla="*/ 12 h 34"/>
                <a:gd name="T12" fmla="*/ 28 w 35"/>
                <a:gd name="T13" fmla="*/ 12 h 34"/>
                <a:gd name="T14" fmla="*/ 28 w 35"/>
                <a:gd name="T15" fmla="*/ 15 h 34"/>
                <a:gd name="T16" fmla="*/ 19 w 35"/>
                <a:gd name="T17" fmla="*/ 20 h 34"/>
                <a:gd name="T18" fmla="*/ 19 w 35"/>
                <a:gd name="T19" fmla="*/ 21 h 34"/>
                <a:gd name="T20" fmla="*/ 35 w 35"/>
                <a:gd name="T21" fmla="*/ 21 h 34"/>
                <a:gd name="T22" fmla="*/ 35 w 35"/>
                <a:gd name="T23" fmla="*/ 23 h 34"/>
                <a:gd name="T24" fmla="*/ 19 w 35"/>
                <a:gd name="T25" fmla="*/ 23 h 34"/>
                <a:gd name="T26" fmla="*/ 19 w 35"/>
                <a:gd name="T27" fmla="*/ 30 h 34"/>
                <a:gd name="T28" fmla="*/ 15 w 35"/>
                <a:gd name="T29" fmla="*/ 34 h 34"/>
                <a:gd name="T30" fmla="*/ 10 w 35"/>
                <a:gd name="T31" fmla="*/ 34 h 34"/>
                <a:gd name="T32" fmla="*/ 9 w 35"/>
                <a:gd name="T33" fmla="*/ 31 h 34"/>
                <a:gd name="T34" fmla="*/ 14 w 35"/>
                <a:gd name="T35" fmla="*/ 32 h 34"/>
                <a:gd name="T36" fmla="*/ 17 w 35"/>
                <a:gd name="T37" fmla="*/ 29 h 34"/>
                <a:gd name="T38" fmla="*/ 17 w 35"/>
                <a:gd name="T39" fmla="*/ 23 h 34"/>
                <a:gd name="T40" fmla="*/ 0 w 35"/>
                <a:gd name="T41" fmla="*/ 23 h 34"/>
                <a:gd name="T42" fmla="*/ 0 w 35"/>
                <a:gd name="T43" fmla="*/ 21 h 34"/>
                <a:gd name="T44" fmla="*/ 1 w 35"/>
                <a:gd name="T45" fmla="*/ 5 h 34"/>
                <a:gd name="T46" fmla="*/ 18 w 35"/>
                <a:gd name="T47" fmla="*/ 5 h 34"/>
                <a:gd name="T48" fmla="*/ 14 w 35"/>
                <a:gd name="T49" fmla="*/ 1 h 34"/>
                <a:gd name="T50" fmla="*/ 17 w 35"/>
                <a:gd name="T51" fmla="*/ 0 h 34"/>
                <a:gd name="T52" fmla="*/ 20 w 35"/>
                <a:gd name="T53" fmla="*/ 4 h 34"/>
                <a:gd name="T54" fmla="*/ 19 w 35"/>
                <a:gd name="T55" fmla="*/ 5 h 34"/>
                <a:gd name="T56" fmla="*/ 34 w 35"/>
                <a:gd name="T57" fmla="*/ 5 h 34"/>
                <a:gd name="T58" fmla="*/ 34 w 35"/>
                <a:gd name="T59" fmla="*/ 12 h 34"/>
                <a:gd name="T60" fmla="*/ 31 w 35"/>
                <a:gd name="T61" fmla="*/ 12 h 34"/>
                <a:gd name="T62" fmla="*/ 31 w 35"/>
                <a:gd name="T63" fmla="*/ 8 h 34"/>
                <a:gd name="T64" fmla="*/ 4 w 35"/>
                <a:gd name="T65" fmla="*/ 8 h 34"/>
                <a:gd name="T66" fmla="*/ 4 w 35"/>
                <a:gd name="T67" fmla="*/ 12 h 34"/>
                <a:gd name="T68" fmla="*/ 1 w 35"/>
                <a:gd name="T69" fmla="*/ 12 h 34"/>
                <a:gd name="T70" fmla="*/ 1 w 35"/>
                <a:gd name="T71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" h="34">
                  <a:moveTo>
                    <a:pt x="0" y="21"/>
                  </a:moveTo>
                  <a:cubicBezTo>
                    <a:pt x="17" y="21"/>
                    <a:pt x="17" y="21"/>
                    <a:pt x="17" y="2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3"/>
                    <a:pt x="18" y="34"/>
                    <a:pt x="15" y="34"/>
                  </a:cubicBezTo>
                  <a:cubicBezTo>
                    <a:pt x="14" y="34"/>
                    <a:pt x="12" y="34"/>
                    <a:pt x="10" y="34"/>
                  </a:cubicBezTo>
                  <a:cubicBezTo>
                    <a:pt x="10" y="33"/>
                    <a:pt x="9" y="32"/>
                    <a:pt x="9" y="31"/>
                  </a:cubicBezTo>
                  <a:cubicBezTo>
                    <a:pt x="11" y="31"/>
                    <a:pt x="13" y="32"/>
                    <a:pt x="14" y="32"/>
                  </a:cubicBezTo>
                  <a:cubicBezTo>
                    <a:pt x="16" y="32"/>
                    <a:pt x="17" y="31"/>
                    <a:pt x="17" y="29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0" y="21"/>
                  </a:lnTo>
                  <a:close/>
                  <a:moveTo>
                    <a:pt x="1" y="5"/>
                  </a:moveTo>
                  <a:cubicBezTo>
                    <a:pt x="18" y="5"/>
                    <a:pt x="18" y="5"/>
                    <a:pt x="18" y="5"/>
                  </a:cubicBezTo>
                  <a:cubicBezTo>
                    <a:pt x="17" y="4"/>
                    <a:pt x="16" y="3"/>
                    <a:pt x="14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1"/>
                    <a:pt x="19" y="3"/>
                    <a:pt x="20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lnTo>
                    <a:pt x="1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4" name="Freeform 20"/>
            <p:cNvSpPr>
              <a:spLocks noEditPoints="1"/>
            </p:cNvSpPr>
            <p:nvPr userDrawn="1"/>
          </p:nvSpPr>
          <p:spPr bwMode="auto">
            <a:xfrm>
              <a:off x="7831560" y="-267218"/>
              <a:ext cx="58415" cy="57636"/>
            </a:xfrm>
            <a:custGeom>
              <a:avLst/>
              <a:gdLst>
                <a:gd name="T0" fmla="*/ 0 w 35"/>
                <a:gd name="T1" fmla="*/ 17 h 34"/>
                <a:gd name="T2" fmla="*/ 9 w 35"/>
                <a:gd name="T3" fmla="*/ 0 h 34"/>
                <a:gd name="T4" fmla="*/ 12 w 35"/>
                <a:gd name="T5" fmla="*/ 1 h 34"/>
                <a:gd name="T6" fmla="*/ 9 w 35"/>
                <a:gd name="T7" fmla="*/ 9 h 34"/>
                <a:gd name="T8" fmla="*/ 9 w 35"/>
                <a:gd name="T9" fmla="*/ 34 h 34"/>
                <a:gd name="T10" fmla="*/ 6 w 35"/>
                <a:gd name="T11" fmla="*/ 34 h 34"/>
                <a:gd name="T12" fmla="*/ 6 w 35"/>
                <a:gd name="T13" fmla="*/ 15 h 34"/>
                <a:gd name="T14" fmla="*/ 1 w 35"/>
                <a:gd name="T15" fmla="*/ 21 h 34"/>
                <a:gd name="T16" fmla="*/ 0 w 35"/>
                <a:gd name="T17" fmla="*/ 17 h 34"/>
                <a:gd name="T18" fmla="*/ 10 w 35"/>
                <a:gd name="T19" fmla="*/ 22 h 34"/>
                <a:gd name="T20" fmla="*/ 19 w 35"/>
                <a:gd name="T21" fmla="*/ 17 h 34"/>
                <a:gd name="T22" fmla="*/ 19 w 35"/>
                <a:gd name="T23" fmla="*/ 1 h 34"/>
                <a:gd name="T24" fmla="*/ 22 w 35"/>
                <a:gd name="T25" fmla="*/ 1 h 34"/>
                <a:gd name="T26" fmla="*/ 22 w 35"/>
                <a:gd name="T27" fmla="*/ 15 h 34"/>
                <a:gd name="T28" fmla="*/ 31 w 35"/>
                <a:gd name="T29" fmla="*/ 5 h 34"/>
                <a:gd name="T30" fmla="*/ 34 w 35"/>
                <a:gd name="T31" fmla="*/ 6 h 34"/>
                <a:gd name="T32" fmla="*/ 22 w 35"/>
                <a:gd name="T33" fmla="*/ 18 h 34"/>
                <a:gd name="T34" fmla="*/ 22 w 35"/>
                <a:gd name="T35" fmla="*/ 28 h 34"/>
                <a:gd name="T36" fmla="*/ 24 w 35"/>
                <a:gd name="T37" fmla="*/ 31 h 34"/>
                <a:gd name="T38" fmla="*/ 29 w 35"/>
                <a:gd name="T39" fmla="*/ 31 h 34"/>
                <a:gd name="T40" fmla="*/ 31 w 35"/>
                <a:gd name="T41" fmla="*/ 28 h 34"/>
                <a:gd name="T42" fmla="*/ 32 w 35"/>
                <a:gd name="T43" fmla="*/ 23 h 34"/>
                <a:gd name="T44" fmla="*/ 35 w 35"/>
                <a:gd name="T45" fmla="*/ 24 h 34"/>
                <a:gd name="T46" fmla="*/ 34 w 35"/>
                <a:gd name="T47" fmla="*/ 29 h 34"/>
                <a:gd name="T48" fmla="*/ 29 w 35"/>
                <a:gd name="T49" fmla="*/ 33 h 34"/>
                <a:gd name="T50" fmla="*/ 23 w 35"/>
                <a:gd name="T51" fmla="*/ 33 h 34"/>
                <a:gd name="T52" fmla="*/ 19 w 35"/>
                <a:gd name="T53" fmla="*/ 29 h 34"/>
                <a:gd name="T54" fmla="*/ 19 w 35"/>
                <a:gd name="T55" fmla="*/ 20 h 34"/>
                <a:gd name="T56" fmla="*/ 12 w 35"/>
                <a:gd name="T57" fmla="*/ 24 h 34"/>
                <a:gd name="T58" fmla="*/ 10 w 35"/>
                <a:gd name="T59" fmla="*/ 2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4">
                  <a:moveTo>
                    <a:pt x="0" y="17"/>
                  </a:moveTo>
                  <a:cubicBezTo>
                    <a:pt x="4" y="12"/>
                    <a:pt x="7" y="6"/>
                    <a:pt x="9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4"/>
                    <a:pt x="10" y="7"/>
                    <a:pt x="9" y="9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7"/>
                    <a:pt x="3" y="19"/>
                    <a:pt x="1" y="21"/>
                  </a:cubicBezTo>
                  <a:cubicBezTo>
                    <a:pt x="1" y="20"/>
                    <a:pt x="1" y="19"/>
                    <a:pt x="0" y="17"/>
                  </a:cubicBezTo>
                  <a:close/>
                  <a:moveTo>
                    <a:pt x="10" y="22"/>
                  </a:moveTo>
                  <a:cubicBezTo>
                    <a:pt x="13" y="20"/>
                    <a:pt x="16" y="19"/>
                    <a:pt x="19" y="17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5" y="12"/>
                    <a:pt x="28" y="8"/>
                    <a:pt x="31" y="5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0" y="11"/>
                    <a:pt x="26" y="15"/>
                    <a:pt x="22" y="1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30"/>
                    <a:pt x="23" y="31"/>
                    <a:pt x="24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31"/>
                    <a:pt x="31" y="30"/>
                    <a:pt x="31" y="28"/>
                  </a:cubicBezTo>
                  <a:cubicBezTo>
                    <a:pt x="32" y="27"/>
                    <a:pt x="32" y="25"/>
                    <a:pt x="32" y="23"/>
                  </a:cubicBezTo>
                  <a:cubicBezTo>
                    <a:pt x="33" y="23"/>
                    <a:pt x="34" y="24"/>
                    <a:pt x="35" y="24"/>
                  </a:cubicBezTo>
                  <a:cubicBezTo>
                    <a:pt x="35" y="26"/>
                    <a:pt x="35" y="28"/>
                    <a:pt x="34" y="29"/>
                  </a:cubicBezTo>
                  <a:cubicBezTo>
                    <a:pt x="34" y="32"/>
                    <a:pt x="32" y="33"/>
                    <a:pt x="29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0" y="33"/>
                    <a:pt x="19" y="32"/>
                    <a:pt x="19" y="29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6" y="22"/>
                    <a:pt x="14" y="23"/>
                    <a:pt x="12" y="24"/>
                  </a:cubicBezTo>
                  <a:cubicBezTo>
                    <a:pt x="11" y="24"/>
                    <a:pt x="11" y="23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5" name="Freeform 21"/>
            <p:cNvSpPr>
              <a:spLocks noEditPoints="1"/>
            </p:cNvSpPr>
            <p:nvPr userDrawn="1"/>
          </p:nvSpPr>
          <p:spPr bwMode="auto">
            <a:xfrm>
              <a:off x="7948389" y="-267218"/>
              <a:ext cx="56078" cy="59193"/>
            </a:xfrm>
            <a:custGeom>
              <a:avLst/>
              <a:gdLst>
                <a:gd name="T0" fmla="*/ 1 w 34"/>
                <a:gd name="T1" fmla="*/ 32 h 35"/>
                <a:gd name="T2" fmla="*/ 15 w 34"/>
                <a:gd name="T3" fmla="*/ 27 h 35"/>
                <a:gd name="T4" fmla="*/ 6 w 34"/>
                <a:gd name="T5" fmla="*/ 23 h 35"/>
                <a:gd name="T6" fmla="*/ 9 w 34"/>
                <a:gd name="T7" fmla="*/ 18 h 35"/>
                <a:gd name="T8" fmla="*/ 0 w 34"/>
                <a:gd name="T9" fmla="*/ 18 h 35"/>
                <a:gd name="T10" fmla="*/ 0 w 34"/>
                <a:gd name="T11" fmla="*/ 15 h 35"/>
                <a:gd name="T12" fmla="*/ 10 w 34"/>
                <a:gd name="T13" fmla="*/ 15 h 35"/>
                <a:gd name="T14" fmla="*/ 14 w 34"/>
                <a:gd name="T15" fmla="*/ 9 h 35"/>
                <a:gd name="T16" fmla="*/ 17 w 34"/>
                <a:gd name="T17" fmla="*/ 10 h 35"/>
                <a:gd name="T18" fmla="*/ 14 w 34"/>
                <a:gd name="T19" fmla="*/ 15 h 35"/>
                <a:gd name="T20" fmla="*/ 34 w 34"/>
                <a:gd name="T21" fmla="*/ 15 h 35"/>
                <a:gd name="T22" fmla="*/ 34 w 34"/>
                <a:gd name="T23" fmla="*/ 18 h 35"/>
                <a:gd name="T24" fmla="*/ 27 w 34"/>
                <a:gd name="T25" fmla="*/ 18 h 35"/>
                <a:gd name="T26" fmla="*/ 21 w 34"/>
                <a:gd name="T27" fmla="*/ 27 h 35"/>
                <a:gd name="T28" fmla="*/ 32 w 34"/>
                <a:gd name="T29" fmla="*/ 32 h 35"/>
                <a:gd name="T30" fmla="*/ 30 w 34"/>
                <a:gd name="T31" fmla="*/ 35 h 35"/>
                <a:gd name="T32" fmla="*/ 18 w 34"/>
                <a:gd name="T33" fmla="*/ 29 h 35"/>
                <a:gd name="T34" fmla="*/ 2 w 34"/>
                <a:gd name="T35" fmla="*/ 35 h 35"/>
                <a:gd name="T36" fmla="*/ 1 w 34"/>
                <a:gd name="T37" fmla="*/ 32 h 35"/>
                <a:gd name="T38" fmla="*/ 1 w 34"/>
                <a:gd name="T39" fmla="*/ 5 h 35"/>
                <a:gd name="T40" fmla="*/ 17 w 34"/>
                <a:gd name="T41" fmla="*/ 5 h 35"/>
                <a:gd name="T42" fmla="*/ 14 w 34"/>
                <a:gd name="T43" fmla="*/ 1 h 35"/>
                <a:gd name="T44" fmla="*/ 16 w 34"/>
                <a:gd name="T45" fmla="*/ 0 h 35"/>
                <a:gd name="T46" fmla="*/ 20 w 34"/>
                <a:gd name="T47" fmla="*/ 4 h 35"/>
                <a:gd name="T48" fmla="*/ 18 w 34"/>
                <a:gd name="T49" fmla="*/ 5 h 35"/>
                <a:gd name="T50" fmla="*/ 33 w 34"/>
                <a:gd name="T51" fmla="*/ 5 h 35"/>
                <a:gd name="T52" fmla="*/ 33 w 34"/>
                <a:gd name="T53" fmla="*/ 12 h 35"/>
                <a:gd name="T54" fmla="*/ 30 w 34"/>
                <a:gd name="T55" fmla="*/ 12 h 35"/>
                <a:gd name="T56" fmla="*/ 30 w 34"/>
                <a:gd name="T57" fmla="*/ 8 h 35"/>
                <a:gd name="T58" fmla="*/ 4 w 34"/>
                <a:gd name="T59" fmla="*/ 8 h 35"/>
                <a:gd name="T60" fmla="*/ 4 w 34"/>
                <a:gd name="T61" fmla="*/ 12 h 35"/>
                <a:gd name="T62" fmla="*/ 1 w 34"/>
                <a:gd name="T63" fmla="*/ 12 h 35"/>
                <a:gd name="T64" fmla="*/ 1 w 34"/>
                <a:gd name="T65" fmla="*/ 5 h 35"/>
                <a:gd name="T66" fmla="*/ 10 w 34"/>
                <a:gd name="T67" fmla="*/ 22 h 35"/>
                <a:gd name="T68" fmla="*/ 18 w 34"/>
                <a:gd name="T69" fmla="*/ 25 h 35"/>
                <a:gd name="T70" fmla="*/ 24 w 34"/>
                <a:gd name="T71" fmla="*/ 18 h 35"/>
                <a:gd name="T72" fmla="*/ 12 w 34"/>
                <a:gd name="T73" fmla="*/ 18 h 35"/>
                <a:gd name="T74" fmla="*/ 10 w 34"/>
                <a:gd name="T7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" h="35">
                  <a:moveTo>
                    <a:pt x="1" y="32"/>
                  </a:moveTo>
                  <a:cubicBezTo>
                    <a:pt x="7" y="31"/>
                    <a:pt x="12" y="29"/>
                    <a:pt x="15" y="27"/>
                  </a:cubicBezTo>
                  <a:cubicBezTo>
                    <a:pt x="12" y="26"/>
                    <a:pt x="9" y="24"/>
                    <a:pt x="6" y="23"/>
                  </a:cubicBezTo>
                  <a:cubicBezTo>
                    <a:pt x="7" y="21"/>
                    <a:pt x="8" y="19"/>
                    <a:pt x="9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2" y="13"/>
                    <a:pt x="13" y="11"/>
                    <a:pt x="14" y="9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2"/>
                    <a:pt x="15" y="13"/>
                    <a:pt x="1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21"/>
                    <a:pt x="24" y="24"/>
                    <a:pt x="21" y="27"/>
                  </a:cubicBezTo>
                  <a:cubicBezTo>
                    <a:pt x="25" y="28"/>
                    <a:pt x="28" y="30"/>
                    <a:pt x="32" y="32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7" y="33"/>
                    <a:pt x="23" y="31"/>
                    <a:pt x="18" y="29"/>
                  </a:cubicBezTo>
                  <a:cubicBezTo>
                    <a:pt x="14" y="32"/>
                    <a:pt x="9" y="33"/>
                    <a:pt x="2" y="35"/>
                  </a:cubicBezTo>
                  <a:cubicBezTo>
                    <a:pt x="2" y="34"/>
                    <a:pt x="1" y="33"/>
                    <a:pt x="1" y="32"/>
                  </a:cubicBezTo>
                  <a:close/>
                  <a:moveTo>
                    <a:pt x="1" y="5"/>
                  </a:moveTo>
                  <a:cubicBezTo>
                    <a:pt x="17" y="5"/>
                    <a:pt x="17" y="5"/>
                    <a:pt x="17" y="5"/>
                  </a:cubicBezTo>
                  <a:cubicBezTo>
                    <a:pt x="16" y="4"/>
                    <a:pt x="15" y="3"/>
                    <a:pt x="14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1"/>
                    <a:pt x="19" y="3"/>
                    <a:pt x="20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lnTo>
                    <a:pt x="1" y="5"/>
                  </a:lnTo>
                  <a:close/>
                  <a:moveTo>
                    <a:pt x="10" y="22"/>
                  </a:moveTo>
                  <a:cubicBezTo>
                    <a:pt x="12" y="23"/>
                    <a:pt x="15" y="24"/>
                    <a:pt x="18" y="25"/>
                  </a:cubicBezTo>
                  <a:cubicBezTo>
                    <a:pt x="21" y="23"/>
                    <a:pt x="23" y="21"/>
                    <a:pt x="24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10" y="20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6" name="Freeform 22"/>
            <p:cNvSpPr>
              <a:spLocks noEditPoints="1"/>
            </p:cNvSpPr>
            <p:nvPr userDrawn="1"/>
          </p:nvSpPr>
          <p:spPr bwMode="auto">
            <a:xfrm>
              <a:off x="8062881" y="-265661"/>
              <a:ext cx="58415" cy="54520"/>
            </a:xfrm>
            <a:custGeom>
              <a:avLst/>
              <a:gdLst>
                <a:gd name="T0" fmla="*/ 20 w 35"/>
                <a:gd name="T1" fmla="*/ 0 h 32"/>
                <a:gd name="T2" fmla="*/ 19 w 35"/>
                <a:gd name="T3" fmla="*/ 0 h 32"/>
                <a:gd name="T4" fmla="*/ 35 w 35"/>
                <a:gd name="T5" fmla="*/ 12 h 32"/>
                <a:gd name="T6" fmla="*/ 33 w 35"/>
                <a:gd name="T7" fmla="*/ 15 h 32"/>
                <a:gd name="T8" fmla="*/ 17 w 35"/>
                <a:gd name="T9" fmla="*/ 3 h 32"/>
                <a:gd name="T10" fmla="*/ 2 w 35"/>
                <a:gd name="T11" fmla="*/ 15 h 32"/>
                <a:gd name="T12" fmla="*/ 0 w 35"/>
                <a:gd name="T13" fmla="*/ 13 h 32"/>
                <a:gd name="T14" fmla="*/ 16 w 35"/>
                <a:gd name="T15" fmla="*/ 0 h 32"/>
                <a:gd name="T16" fmla="*/ 20 w 35"/>
                <a:gd name="T17" fmla="*/ 0 h 32"/>
                <a:gd name="T18" fmla="*/ 1 w 35"/>
                <a:gd name="T19" fmla="*/ 30 h 32"/>
                <a:gd name="T20" fmla="*/ 16 w 35"/>
                <a:gd name="T21" fmla="*/ 30 h 32"/>
                <a:gd name="T22" fmla="*/ 16 w 35"/>
                <a:gd name="T23" fmla="*/ 23 h 32"/>
                <a:gd name="T24" fmla="*/ 5 w 35"/>
                <a:gd name="T25" fmla="*/ 23 h 32"/>
                <a:gd name="T26" fmla="*/ 5 w 35"/>
                <a:gd name="T27" fmla="*/ 21 h 32"/>
                <a:gd name="T28" fmla="*/ 16 w 35"/>
                <a:gd name="T29" fmla="*/ 21 h 32"/>
                <a:gd name="T30" fmla="*/ 16 w 35"/>
                <a:gd name="T31" fmla="*/ 15 h 32"/>
                <a:gd name="T32" fmla="*/ 6 w 35"/>
                <a:gd name="T33" fmla="*/ 15 h 32"/>
                <a:gd name="T34" fmla="*/ 6 w 35"/>
                <a:gd name="T35" fmla="*/ 13 h 32"/>
                <a:gd name="T36" fmla="*/ 29 w 35"/>
                <a:gd name="T37" fmla="*/ 13 h 32"/>
                <a:gd name="T38" fmla="*/ 29 w 35"/>
                <a:gd name="T39" fmla="*/ 15 h 32"/>
                <a:gd name="T40" fmla="*/ 19 w 35"/>
                <a:gd name="T41" fmla="*/ 15 h 32"/>
                <a:gd name="T42" fmla="*/ 19 w 35"/>
                <a:gd name="T43" fmla="*/ 21 h 32"/>
                <a:gd name="T44" fmla="*/ 30 w 35"/>
                <a:gd name="T45" fmla="*/ 21 h 32"/>
                <a:gd name="T46" fmla="*/ 30 w 35"/>
                <a:gd name="T47" fmla="*/ 23 h 32"/>
                <a:gd name="T48" fmla="*/ 19 w 35"/>
                <a:gd name="T49" fmla="*/ 23 h 32"/>
                <a:gd name="T50" fmla="*/ 19 w 35"/>
                <a:gd name="T51" fmla="*/ 30 h 32"/>
                <a:gd name="T52" fmla="*/ 33 w 35"/>
                <a:gd name="T53" fmla="*/ 30 h 32"/>
                <a:gd name="T54" fmla="*/ 33 w 35"/>
                <a:gd name="T55" fmla="*/ 32 h 32"/>
                <a:gd name="T56" fmla="*/ 1 w 35"/>
                <a:gd name="T57" fmla="*/ 32 h 32"/>
                <a:gd name="T58" fmla="*/ 1 w 35"/>
                <a:gd name="T59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2">
                  <a:moveTo>
                    <a:pt x="2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23" y="6"/>
                    <a:pt x="28" y="9"/>
                    <a:pt x="35" y="12"/>
                  </a:cubicBezTo>
                  <a:cubicBezTo>
                    <a:pt x="34" y="13"/>
                    <a:pt x="34" y="14"/>
                    <a:pt x="33" y="15"/>
                  </a:cubicBezTo>
                  <a:cubicBezTo>
                    <a:pt x="27" y="12"/>
                    <a:pt x="22" y="8"/>
                    <a:pt x="17" y="3"/>
                  </a:cubicBezTo>
                  <a:cubicBezTo>
                    <a:pt x="14" y="7"/>
                    <a:pt x="9" y="11"/>
                    <a:pt x="2" y="15"/>
                  </a:cubicBezTo>
                  <a:cubicBezTo>
                    <a:pt x="1" y="15"/>
                    <a:pt x="0" y="14"/>
                    <a:pt x="0" y="13"/>
                  </a:cubicBezTo>
                  <a:cubicBezTo>
                    <a:pt x="7" y="9"/>
                    <a:pt x="13" y="5"/>
                    <a:pt x="16" y="0"/>
                  </a:cubicBezTo>
                  <a:lnTo>
                    <a:pt x="20" y="0"/>
                  </a:lnTo>
                  <a:close/>
                  <a:moveTo>
                    <a:pt x="1" y="30"/>
                  </a:moveTo>
                  <a:cubicBezTo>
                    <a:pt x="16" y="30"/>
                    <a:pt x="16" y="30"/>
                    <a:pt x="16" y="30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1" y="32"/>
                    <a:pt x="1" y="32"/>
                    <a:pt x="1" y="32"/>
                  </a:cubicBezTo>
                  <a:lnTo>
                    <a:pt x="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7" name="Freeform 23"/>
            <p:cNvSpPr>
              <a:spLocks noEditPoints="1"/>
            </p:cNvSpPr>
            <p:nvPr userDrawn="1"/>
          </p:nvSpPr>
          <p:spPr bwMode="auto">
            <a:xfrm>
              <a:off x="8181267" y="-267218"/>
              <a:ext cx="52962" cy="57636"/>
            </a:xfrm>
            <a:custGeom>
              <a:avLst/>
              <a:gdLst>
                <a:gd name="T0" fmla="*/ 0 w 32"/>
                <a:gd name="T1" fmla="*/ 6 h 34"/>
                <a:gd name="T2" fmla="*/ 3 w 32"/>
                <a:gd name="T3" fmla="*/ 6 h 34"/>
                <a:gd name="T4" fmla="*/ 5 w 32"/>
                <a:gd name="T5" fmla="*/ 0 h 34"/>
                <a:gd name="T6" fmla="*/ 8 w 32"/>
                <a:gd name="T7" fmla="*/ 1 h 34"/>
                <a:gd name="T8" fmla="*/ 6 w 32"/>
                <a:gd name="T9" fmla="*/ 6 h 34"/>
                <a:gd name="T10" fmla="*/ 13 w 32"/>
                <a:gd name="T11" fmla="*/ 6 h 34"/>
                <a:gd name="T12" fmla="*/ 13 w 32"/>
                <a:gd name="T13" fmla="*/ 34 h 34"/>
                <a:gd name="T14" fmla="*/ 10 w 32"/>
                <a:gd name="T15" fmla="*/ 34 h 34"/>
                <a:gd name="T16" fmla="*/ 10 w 32"/>
                <a:gd name="T17" fmla="*/ 31 h 34"/>
                <a:gd name="T18" fmla="*/ 2 w 32"/>
                <a:gd name="T19" fmla="*/ 31 h 34"/>
                <a:gd name="T20" fmla="*/ 2 w 32"/>
                <a:gd name="T21" fmla="*/ 34 h 34"/>
                <a:gd name="T22" fmla="*/ 0 w 32"/>
                <a:gd name="T23" fmla="*/ 34 h 34"/>
                <a:gd name="T24" fmla="*/ 0 w 32"/>
                <a:gd name="T25" fmla="*/ 6 h 34"/>
                <a:gd name="T26" fmla="*/ 10 w 32"/>
                <a:gd name="T27" fmla="*/ 9 h 34"/>
                <a:gd name="T28" fmla="*/ 2 w 32"/>
                <a:gd name="T29" fmla="*/ 9 h 34"/>
                <a:gd name="T30" fmla="*/ 2 w 32"/>
                <a:gd name="T31" fmla="*/ 17 h 34"/>
                <a:gd name="T32" fmla="*/ 10 w 32"/>
                <a:gd name="T33" fmla="*/ 17 h 34"/>
                <a:gd name="T34" fmla="*/ 10 w 32"/>
                <a:gd name="T35" fmla="*/ 9 h 34"/>
                <a:gd name="T36" fmla="*/ 2 w 32"/>
                <a:gd name="T37" fmla="*/ 28 h 34"/>
                <a:gd name="T38" fmla="*/ 10 w 32"/>
                <a:gd name="T39" fmla="*/ 28 h 34"/>
                <a:gd name="T40" fmla="*/ 10 w 32"/>
                <a:gd name="T41" fmla="*/ 20 h 34"/>
                <a:gd name="T42" fmla="*/ 2 w 32"/>
                <a:gd name="T43" fmla="*/ 20 h 34"/>
                <a:gd name="T44" fmla="*/ 2 w 32"/>
                <a:gd name="T45" fmla="*/ 28 h 34"/>
                <a:gd name="T46" fmla="*/ 14 w 32"/>
                <a:gd name="T47" fmla="*/ 13 h 34"/>
                <a:gd name="T48" fmla="*/ 19 w 32"/>
                <a:gd name="T49" fmla="*/ 0 h 34"/>
                <a:gd name="T50" fmla="*/ 22 w 32"/>
                <a:gd name="T51" fmla="*/ 1 h 34"/>
                <a:gd name="T52" fmla="*/ 20 w 32"/>
                <a:gd name="T53" fmla="*/ 6 h 34"/>
                <a:gd name="T54" fmla="*/ 32 w 32"/>
                <a:gd name="T55" fmla="*/ 6 h 34"/>
                <a:gd name="T56" fmla="*/ 31 w 32"/>
                <a:gd name="T57" fmla="*/ 29 h 34"/>
                <a:gd name="T58" fmla="*/ 25 w 32"/>
                <a:gd name="T59" fmla="*/ 34 h 34"/>
                <a:gd name="T60" fmla="*/ 19 w 32"/>
                <a:gd name="T61" fmla="*/ 34 h 34"/>
                <a:gd name="T62" fmla="*/ 18 w 32"/>
                <a:gd name="T63" fmla="*/ 31 h 34"/>
                <a:gd name="T64" fmla="*/ 18 w 32"/>
                <a:gd name="T65" fmla="*/ 31 h 34"/>
                <a:gd name="T66" fmla="*/ 25 w 32"/>
                <a:gd name="T67" fmla="*/ 31 h 34"/>
                <a:gd name="T68" fmla="*/ 28 w 32"/>
                <a:gd name="T69" fmla="*/ 28 h 34"/>
                <a:gd name="T70" fmla="*/ 29 w 32"/>
                <a:gd name="T71" fmla="*/ 8 h 34"/>
                <a:gd name="T72" fmla="*/ 19 w 32"/>
                <a:gd name="T73" fmla="*/ 8 h 34"/>
                <a:gd name="T74" fmla="*/ 16 w 32"/>
                <a:gd name="T75" fmla="*/ 14 h 34"/>
                <a:gd name="T76" fmla="*/ 14 w 32"/>
                <a:gd name="T77" fmla="*/ 13 h 34"/>
                <a:gd name="T78" fmla="*/ 17 w 32"/>
                <a:gd name="T79" fmla="*/ 15 h 34"/>
                <a:gd name="T80" fmla="*/ 19 w 32"/>
                <a:gd name="T81" fmla="*/ 14 h 34"/>
                <a:gd name="T82" fmla="*/ 25 w 32"/>
                <a:gd name="T83" fmla="*/ 22 h 34"/>
                <a:gd name="T84" fmla="*/ 23 w 32"/>
                <a:gd name="T85" fmla="*/ 24 h 34"/>
                <a:gd name="T86" fmla="*/ 17 w 32"/>
                <a:gd name="T87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" h="34">
                  <a:moveTo>
                    <a:pt x="0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4" y="4"/>
                    <a:pt x="5" y="2"/>
                    <a:pt x="5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3"/>
                    <a:pt x="7" y="4"/>
                    <a:pt x="6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0" y="34"/>
                    <a:pt x="0" y="34"/>
                    <a:pt x="0" y="34"/>
                  </a:cubicBezTo>
                  <a:lnTo>
                    <a:pt x="0" y="6"/>
                  </a:lnTo>
                  <a:close/>
                  <a:moveTo>
                    <a:pt x="10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0" y="17"/>
                    <a:pt x="10" y="17"/>
                    <a:pt x="10" y="17"/>
                  </a:cubicBezTo>
                  <a:lnTo>
                    <a:pt x="10" y="9"/>
                  </a:lnTo>
                  <a:close/>
                  <a:moveTo>
                    <a:pt x="2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2" y="20"/>
                    <a:pt x="2" y="20"/>
                    <a:pt x="2" y="20"/>
                  </a:cubicBezTo>
                  <a:lnTo>
                    <a:pt x="2" y="28"/>
                  </a:lnTo>
                  <a:close/>
                  <a:moveTo>
                    <a:pt x="14" y="13"/>
                  </a:moveTo>
                  <a:cubicBezTo>
                    <a:pt x="16" y="10"/>
                    <a:pt x="18" y="5"/>
                    <a:pt x="19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3"/>
                    <a:pt x="21" y="4"/>
                    <a:pt x="20" y="6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18"/>
                    <a:pt x="31" y="25"/>
                    <a:pt x="31" y="29"/>
                  </a:cubicBezTo>
                  <a:cubicBezTo>
                    <a:pt x="31" y="32"/>
                    <a:pt x="29" y="34"/>
                    <a:pt x="25" y="34"/>
                  </a:cubicBezTo>
                  <a:cubicBezTo>
                    <a:pt x="23" y="34"/>
                    <a:pt x="21" y="34"/>
                    <a:pt x="19" y="34"/>
                  </a:cubicBezTo>
                  <a:cubicBezTo>
                    <a:pt x="19" y="33"/>
                    <a:pt x="18" y="32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21" y="31"/>
                    <a:pt x="23" y="31"/>
                    <a:pt x="25" y="31"/>
                  </a:cubicBezTo>
                  <a:cubicBezTo>
                    <a:pt x="27" y="31"/>
                    <a:pt x="28" y="30"/>
                    <a:pt x="28" y="28"/>
                  </a:cubicBezTo>
                  <a:cubicBezTo>
                    <a:pt x="28" y="24"/>
                    <a:pt x="29" y="18"/>
                    <a:pt x="2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8" y="11"/>
                    <a:pt x="17" y="13"/>
                    <a:pt x="16" y="14"/>
                  </a:cubicBezTo>
                  <a:cubicBezTo>
                    <a:pt x="16" y="14"/>
                    <a:pt x="15" y="14"/>
                    <a:pt x="14" y="13"/>
                  </a:cubicBezTo>
                  <a:close/>
                  <a:moveTo>
                    <a:pt x="17" y="1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22" y="17"/>
                    <a:pt x="24" y="20"/>
                    <a:pt x="25" y="22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1" y="21"/>
                    <a:pt x="19" y="18"/>
                    <a:pt x="1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8" name="Freeform 24"/>
            <p:cNvSpPr>
              <a:spLocks noEditPoints="1"/>
            </p:cNvSpPr>
            <p:nvPr userDrawn="1"/>
          </p:nvSpPr>
          <p:spPr bwMode="auto">
            <a:xfrm>
              <a:off x="8292644" y="-265661"/>
              <a:ext cx="58415" cy="57636"/>
            </a:xfrm>
            <a:custGeom>
              <a:avLst/>
              <a:gdLst>
                <a:gd name="T0" fmla="*/ 10 w 35"/>
                <a:gd name="T1" fmla="*/ 0 h 34"/>
                <a:gd name="T2" fmla="*/ 10 w 35"/>
                <a:gd name="T3" fmla="*/ 1 h 34"/>
                <a:gd name="T4" fmla="*/ 16 w 35"/>
                <a:gd name="T5" fmla="*/ 9 h 34"/>
                <a:gd name="T6" fmla="*/ 14 w 35"/>
                <a:gd name="T7" fmla="*/ 11 h 34"/>
                <a:gd name="T8" fmla="*/ 9 w 35"/>
                <a:gd name="T9" fmla="*/ 3 h 34"/>
                <a:gd name="T10" fmla="*/ 2 w 35"/>
                <a:gd name="T11" fmla="*/ 15 h 34"/>
                <a:gd name="T12" fmla="*/ 0 w 35"/>
                <a:gd name="T13" fmla="*/ 12 h 34"/>
                <a:gd name="T14" fmla="*/ 8 w 35"/>
                <a:gd name="T15" fmla="*/ 0 h 34"/>
                <a:gd name="T16" fmla="*/ 10 w 35"/>
                <a:gd name="T17" fmla="*/ 0 h 34"/>
                <a:gd name="T18" fmla="*/ 3 w 35"/>
                <a:gd name="T19" fmla="*/ 24 h 34"/>
                <a:gd name="T20" fmla="*/ 5 w 35"/>
                <a:gd name="T21" fmla="*/ 22 h 34"/>
                <a:gd name="T22" fmla="*/ 8 w 35"/>
                <a:gd name="T23" fmla="*/ 26 h 34"/>
                <a:gd name="T24" fmla="*/ 12 w 35"/>
                <a:gd name="T25" fmla="*/ 18 h 34"/>
                <a:gd name="T26" fmla="*/ 2 w 35"/>
                <a:gd name="T27" fmla="*/ 18 h 34"/>
                <a:gd name="T28" fmla="*/ 2 w 35"/>
                <a:gd name="T29" fmla="*/ 16 h 34"/>
                <a:gd name="T30" fmla="*/ 15 w 35"/>
                <a:gd name="T31" fmla="*/ 16 h 34"/>
                <a:gd name="T32" fmla="*/ 15 w 35"/>
                <a:gd name="T33" fmla="*/ 18 h 34"/>
                <a:gd name="T34" fmla="*/ 10 w 35"/>
                <a:gd name="T35" fmla="*/ 28 h 34"/>
                <a:gd name="T36" fmla="*/ 13 w 35"/>
                <a:gd name="T37" fmla="*/ 32 h 34"/>
                <a:gd name="T38" fmla="*/ 10 w 35"/>
                <a:gd name="T39" fmla="*/ 33 h 34"/>
                <a:gd name="T40" fmla="*/ 3 w 35"/>
                <a:gd name="T41" fmla="*/ 24 h 34"/>
                <a:gd name="T42" fmla="*/ 7 w 35"/>
                <a:gd name="T43" fmla="*/ 9 h 34"/>
                <a:gd name="T44" fmla="*/ 9 w 35"/>
                <a:gd name="T45" fmla="*/ 8 h 34"/>
                <a:gd name="T46" fmla="*/ 12 w 35"/>
                <a:gd name="T47" fmla="*/ 13 h 34"/>
                <a:gd name="T48" fmla="*/ 9 w 35"/>
                <a:gd name="T49" fmla="*/ 15 h 34"/>
                <a:gd name="T50" fmla="*/ 7 w 35"/>
                <a:gd name="T51" fmla="*/ 9 h 34"/>
                <a:gd name="T52" fmla="*/ 24 w 35"/>
                <a:gd name="T53" fmla="*/ 12 h 34"/>
                <a:gd name="T54" fmla="*/ 27 w 35"/>
                <a:gd name="T55" fmla="*/ 12 h 34"/>
                <a:gd name="T56" fmla="*/ 27 w 35"/>
                <a:gd name="T57" fmla="*/ 17 h 34"/>
                <a:gd name="T58" fmla="*/ 26 w 35"/>
                <a:gd name="T59" fmla="*/ 24 h 34"/>
                <a:gd name="T60" fmla="*/ 35 w 35"/>
                <a:gd name="T61" fmla="*/ 32 h 34"/>
                <a:gd name="T62" fmla="*/ 33 w 35"/>
                <a:gd name="T63" fmla="*/ 34 h 34"/>
                <a:gd name="T64" fmla="*/ 25 w 35"/>
                <a:gd name="T65" fmla="*/ 26 h 34"/>
                <a:gd name="T66" fmla="*/ 24 w 35"/>
                <a:gd name="T67" fmla="*/ 27 h 34"/>
                <a:gd name="T68" fmla="*/ 16 w 35"/>
                <a:gd name="T69" fmla="*/ 34 h 34"/>
                <a:gd name="T70" fmla="*/ 14 w 35"/>
                <a:gd name="T71" fmla="*/ 32 h 34"/>
                <a:gd name="T72" fmla="*/ 22 w 35"/>
                <a:gd name="T73" fmla="*/ 26 h 34"/>
                <a:gd name="T74" fmla="*/ 24 w 35"/>
                <a:gd name="T75" fmla="*/ 17 h 34"/>
                <a:gd name="T76" fmla="*/ 24 w 35"/>
                <a:gd name="T77" fmla="*/ 12 h 34"/>
                <a:gd name="T78" fmla="*/ 17 w 35"/>
                <a:gd name="T79" fmla="*/ 8 h 34"/>
                <a:gd name="T80" fmla="*/ 23 w 35"/>
                <a:gd name="T81" fmla="*/ 8 h 34"/>
                <a:gd name="T82" fmla="*/ 24 w 35"/>
                <a:gd name="T83" fmla="*/ 3 h 34"/>
                <a:gd name="T84" fmla="*/ 15 w 35"/>
                <a:gd name="T85" fmla="*/ 3 h 34"/>
                <a:gd name="T86" fmla="*/ 15 w 35"/>
                <a:gd name="T87" fmla="*/ 1 h 34"/>
                <a:gd name="T88" fmla="*/ 35 w 35"/>
                <a:gd name="T89" fmla="*/ 1 h 34"/>
                <a:gd name="T90" fmla="*/ 35 w 35"/>
                <a:gd name="T91" fmla="*/ 3 h 34"/>
                <a:gd name="T92" fmla="*/ 27 w 35"/>
                <a:gd name="T93" fmla="*/ 3 h 34"/>
                <a:gd name="T94" fmla="*/ 26 w 35"/>
                <a:gd name="T95" fmla="*/ 8 h 34"/>
                <a:gd name="T96" fmla="*/ 34 w 35"/>
                <a:gd name="T97" fmla="*/ 8 h 34"/>
                <a:gd name="T98" fmla="*/ 34 w 35"/>
                <a:gd name="T99" fmla="*/ 25 h 34"/>
                <a:gd name="T100" fmla="*/ 31 w 35"/>
                <a:gd name="T101" fmla="*/ 25 h 34"/>
                <a:gd name="T102" fmla="*/ 31 w 35"/>
                <a:gd name="T103" fmla="*/ 11 h 34"/>
                <a:gd name="T104" fmla="*/ 19 w 35"/>
                <a:gd name="T105" fmla="*/ 11 h 34"/>
                <a:gd name="T106" fmla="*/ 19 w 35"/>
                <a:gd name="T107" fmla="*/ 25 h 34"/>
                <a:gd name="T108" fmla="*/ 17 w 35"/>
                <a:gd name="T109" fmla="*/ 25 h 34"/>
                <a:gd name="T110" fmla="*/ 17 w 35"/>
                <a:gd name="T111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" h="34">
                  <a:moveTo>
                    <a:pt x="10" y="0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2" y="3"/>
                    <a:pt x="14" y="6"/>
                    <a:pt x="16" y="9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2" y="8"/>
                    <a:pt x="11" y="5"/>
                    <a:pt x="9" y="3"/>
                  </a:cubicBezTo>
                  <a:cubicBezTo>
                    <a:pt x="7" y="7"/>
                    <a:pt x="5" y="11"/>
                    <a:pt x="2" y="15"/>
                  </a:cubicBezTo>
                  <a:cubicBezTo>
                    <a:pt x="2" y="14"/>
                    <a:pt x="1" y="13"/>
                    <a:pt x="0" y="12"/>
                  </a:cubicBezTo>
                  <a:cubicBezTo>
                    <a:pt x="3" y="9"/>
                    <a:pt x="6" y="5"/>
                    <a:pt x="8" y="0"/>
                  </a:cubicBezTo>
                  <a:lnTo>
                    <a:pt x="10" y="0"/>
                  </a:lnTo>
                  <a:close/>
                  <a:moveTo>
                    <a:pt x="3" y="24"/>
                  </a:moveTo>
                  <a:cubicBezTo>
                    <a:pt x="5" y="22"/>
                    <a:pt x="5" y="22"/>
                    <a:pt x="5" y="22"/>
                  </a:cubicBezTo>
                  <a:cubicBezTo>
                    <a:pt x="6" y="24"/>
                    <a:pt x="7" y="25"/>
                    <a:pt x="8" y="26"/>
                  </a:cubicBezTo>
                  <a:cubicBezTo>
                    <a:pt x="10" y="24"/>
                    <a:pt x="11" y="21"/>
                    <a:pt x="1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3" y="22"/>
                    <a:pt x="11" y="26"/>
                    <a:pt x="10" y="28"/>
                  </a:cubicBezTo>
                  <a:cubicBezTo>
                    <a:pt x="11" y="29"/>
                    <a:pt x="12" y="31"/>
                    <a:pt x="13" y="32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0"/>
                    <a:pt x="5" y="27"/>
                    <a:pt x="3" y="24"/>
                  </a:cubicBezTo>
                  <a:close/>
                  <a:moveTo>
                    <a:pt x="7" y="9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10" y="10"/>
                    <a:pt x="11" y="12"/>
                    <a:pt x="12" y="13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3"/>
                    <a:pt x="8" y="11"/>
                    <a:pt x="7" y="9"/>
                  </a:cubicBezTo>
                  <a:close/>
                  <a:moveTo>
                    <a:pt x="24" y="12"/>
                  </a:moveTo>
                  <a:cubicBezTo>
                    <a:pt x="27" y="12"/>
                    <a:pt x="27" y="12"/>
                    <a:pt x="27" y="12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0"/>
                    <a:pt x="26" y="22"/>
                    <a:pt x="26" y="24"/>
                  </a:cubicBezTo>
                  <a:cubicBezTo>
                    <a:pt x="29" y="26"/>
                    <a:pt x="32" y="29"/>
                    <a:pt x="35" y="32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1" y="31"/>
                    <a:pt x="28" y="29"/>
                    <a:pt x="25" y="26"/>
                  </a:cubicBezTo>
                  <a:cubicBezTo>
                    <a:pt x="25" y="27"/>
                    <a:pt x="24" y="27"/>
                    <a:pt x="24" y="27"/>
                  </a:cubicBezTo>
                  <a:cubicBezTo>
                    <a:pt x="23" y="30"/>
                    <a:pt x="20" y="32"/>
                    <a:pt x="16" y="34"/>
                  </a:cubicBezTo>
                  <a:cubicBezTo>
                    <a:pt x="15" y="33"/>
                    <a:pt x="14" y="32"/>
                    <a:pt x="14" y="32"/>
                  </a:cubicBezTo>
                  <a:cubicBezTo>
                    <a:pt x="18" y="30"/>
                    <a:pt x="20" y="28"/>
                    <a:pt x="22" y="26"/>
                  </a:cubicBezTo>
                  <a:cubicBezTo>
                    <a:pt x="23" y="24"/>
                    <a:pt x="24" y="21"/>
                    <a:pt x="24" y="17"/>
                  </a:cubicBezTo>
                  <a:lnTo>
                    <a:pt x="24" y="12"/>
                  </a:lnTo>
                  <a:close/>
                  <a:moveTo>
                    <a:pt x="17" y="8"/>
                  </a:moveTo>
                  <a:cubicBezTo>
                    <a:pt x="23" y="8"/>
                    <a:pt x="23" y="8"/>
                    <a:pt x="23" y="8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7" y="25"/>
                    <a:pt x="17" y="25"/>
                    <a:pt x="17" y="25"/>
                  </a:cubicBez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9" name="Freeform 25"/>
            <p:cNvSpPr>
              <a:spLocks noEditPoints="1"/>
            </p:cNvSpPr>
            <p:nvPr userDrawn="1"/>
          </p:nvSpPr>
          <p:spPr bwMode="auto">
            <a:xfrm>
              <a:off x="8409473" y="-264103"/>
              <a:ext cx="58415" cy="54520"/>
            </a:xfrm>
            <a:custGeom>
              <a:avLst/>
              <a:gdLst>
                <a:gd name="T0" fmla="*/ 0 w 35"/>
                <a:gd name="T1" fmla="*/ 20 h 32"/>
                <a:gd name="T2" fmla="*/ 24 w 35"/>
                <a:gd name="T3" fmla="*/ 20 h 32"/>
                <a:gd name="T4" fmla="*/ 24 w 35"/>
                <a:gd name="T5" fmla="*/ 17 h 32"/>
                <a:gd name="T6" fmla="*/ 27 w 35"/>
                <a:gd name="T7" fmla="*/ 17 h 32"/>
                <a:gd name="T8" fmla="*/ 27 w 35"/>
                <a:gd name="T9" fmla="*/ 20 h 32"/>
                <a:gd name="T10" fmla="*/ 35 w 35"/>
                <a:gd name="T11" fmla="*/ 20 h 32"/>
                <a:gd name="T12" fmla="*/ 35 w 35"/>
                <a:gd name="T13" fmla="*/ 22 h 32"/>
                <a:gd name="T14" fmla="*/ 27 w 35"/>
                <a:gd name="T15" fmla="*/ 22 h 32"/>
                <a:gd name="T16" fmla="*/ 27 w 35"/>
                <a:gd name="T17" fmla="*/ 28 h 32"/>
                <a:gd name="T18" fmla="*/ 23 w 35"/>
                <a:gd name="T19" fmla="*/ 32 h 32"/>
                <a:gd name="T20" fmla="*/ 17 w 35"/>
                <a:gd name="T21" fmla="*/ 32 h 32"/>
                <a:gd name="T22" fmla="*/ 17 w 35"/>
                <a:gd name="T23" fmla="*/ 29 h 32"/>
                <a:gd name="T24" fmla="*/ 22 w 35"/>
                <a:gd name="T25" fmla="*/ 29 h 32"/>
                <a:gd name="T26" fmla="*/ 24 w 35"/>
                <a:gd name="T27" fmla="*/ 27 h 32"/>
                <a:gd name="T28" fmla="*/ 24 w 35"/>
                <a:gd name="T29" fmla="*/ 22 h 32"/>
                <a:gd name="T30" fmla="*/ 0 w 35"/>
                <a:gd name="T31" fmla="*/ 22 h 32"/>
                <a:gd name="T32" fmla="*/ 0 w 35"/>
                <a:gd name="T33" fmla="*/ 20 h 32"/>
                <a:gd name="T34" fmla="*/ 9 w 35"/>
                <a:gd name="T35" fmla="*/ 14 h 32"/>
                <a:gd name="T36" fmla="*/ 28 w 35"/>
                <a:gd name="T37" fmla="*/ 14 h 32"/>
                <a:gd name="T38" fmla="*/ 31 w 35"/>
                <a:gd name="T39" fmla="*/ 12 h 32"/>
                <a:gd name="T40" fmla="*/ 32 w 35"/>
                <a:gd name="T41" fmla="*/ 8 h 32"/>
                <a:gd name="T42" fmla="*/ 34 w 35"/>
                <a:gd name="T43" fmla="*/ 9 h 32"/>
                <a:gd name="T44" fmla="*/ 33 w 35"/>
                <a:gd name="T45" fmla="*/ 13 h 32"/>
                <a:gd name="T46" fmla="*/ 28 w 35"/>
                <a:gd name="T47" fmla="*/ 16 h 32"/>
                <a:gd name="T48" fmla="*/ 9 w 35"/>
                <a:gd name="T49" fmla="*/ 16 h 32"/>
                <a:gd name="T50" fmla="*/ 4 w 35"/>
                <a:gd name="T51" fmla="*/ 12 h 32"/>
                <a:gd name="T52" fmla="*/ 4 w 35"/>
                <a:gd name="T53" fmla="*/ 0 h 32"/>
                <a:gd name="T54" fmla="*/ 29 w 35"/>
                <a:gd name="T55" fmla="*/ 0 h 32"/>
                <a:gd name="T56" fmla="*/ 29 w 35"/>
                <a:gd name="T57" fmla="*/ 10 h 32"/>
                <a:gd name="T58" fmla="*/ 26 w 35"/>
                <a:gd name="T59" fmla="*/ 10 h 32"/>
                <a:gd name="T60" fmla="*/ 26 w 35"/>
                <a:gd name="T61" fmla="*/ 9 h 32"/>
                <a:gd name="T62" fmla="*/ 7 w 35"/>
                <a:gd name="T63" fmla="*/ 9 h 32"/>
                <a:gd name="T64" fmla="*/ 7 w 35"/>
                <a:gd name="T65" fmla="*/ 11 h 32"/>
                <a:gd name="T66" fmla="*/ 9 w 35"/>
                <a:gd name="T67" fmla="*/ 14 h 32"/>
                <a:gd name="T68" fmla="*/ 6 w 35"/>
                <a:gd name="T69" fmla="*/ 24 h 32"/>
                <a:gd name="T70" fmla="*/ 8 w 35"/>
                <a:gd name="T71" fmla="*/ 22 h 32"/>
                <a:gd name="T72" fmla="*/ 14 w 35"/>
                <a:gd name="T73" fmla="*/ 27 h 32"/>
                <a:gd name="T74" fmla="*/ 12 w 35"/>
                <a:gd name="T75" fmla="*/ 29 h 32"/>
                <a:gd name="T76" fmla="*/ 6 w 35"/>
                <a:gd name="T77" fmla="*/ 24 h 32"/>
                <a:gd name="T78" fmla="*/ 7 w 35"/>
                <a:gd name="T79" fmla="*/ 2 h 32"/>
                <a:gd name="T80" fmla="*/ 7 w 35"/>
                <a:gd name="T81" fmla="*/ 7 h 32"/>
                <a:gd name="T82" fmla="*/ 26 w 35"/>
                <a:gd name="T83" fmla="*/ 7 h 32"/>
                <a:gd name="T84" fmla="*/ 26 w 35"/>
                <a:gd name="T85" fmla="*/ 2 h 32"/>
                <a:gd name="T86" fmla="*/ 7 w 35"/>
                <a:gd name="T8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" h="32">
                  <a:moveTo>
                    <a:pt x="0" y="20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31"/>
                    <a:pt x="26" y="32"/>
                    <a:pt x="23" y="32"/>
                  </a:cubicBezTo>
                  <a:cubicBezTo>
                    <a:pt x="22" y="32"/>
                    <a:pt x="20" y="32"/>
                    <a:pt x="17" y="32"/>
                  </a:cubicBezTo>
                  <a:cubicBezTo>
                    <a:pt x="17" y="31"/>
                    <a:pt x="17" y="30"/>
                    <a:pt x="17" y="29"/>
                  </a:cubicBezTo>
                  <a:cubicBezTo>
                    <a:pt x="19" y="29"/>
                    <a:pt x="20" y="29"/>
                    <a:pt x="22" y="29"/>
                  </a:cubicBezTo>
                  <a:cubicBezTo>
                    <a:pt x="24" y="29"/>
                    <a:pt x="24" y="29"/>
                    <a:pt x="24" y="27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20"/>
                  </a:lnTo>
                  <a:close/>
                  <a:moveTo>
                    <a:pt x="9" y="14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9" y="14"/>
                    <a:pt x="31" y="13"/>
                    <a:pt x="31" y="12"/>
                  </a:cubicBezTo>
                  <a:cubicBezTo>
                    <a:pt x="31" y="11"/>
                    <a:pt x="31" y="10"/>
                    <a:pt x="32" y="8"/>
                  </a:cubicBezTo>
                  <a:cubicBezTo>
                    <a:pt x="32" y="8"/>
                    <a:pt x="33" y="9"/>
                    <a:pt x="34" y="9"/>
                  </a:cubicBezTo>
                  <a:cubicBezTo>
                    <a:pt x="34" y="11"/>
                    <a:pt x="34" y="12"/>
                    <a:pt x="33" y="13"/>
                  </a:cubicBezTo>
                  <a:cubicBezTo>
                    <a:pt x="33" y="15"/>
                    <a:pt x="31" y="16"/>
                    <a:pt x="28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5" y="16"/>
                    <a:pt x="4" y="15"/>
                    <a:pt x="4" y="1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7" y="14"/>
                    <a:pt x="9" y="14"/>
                  </a:cubicBezTo>
                  <a:close/>
                  <a:moveTo>
                    <a:pt x="6" y="24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11" y="24"/>
                    <a:pt x="13" y="26"/>
                    <a:pt x="14" y="27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0" y="27"/>
                    <a:pt x="8" y="25"/>
                    <a:pt x="6" y="24"/>
                  </a:cubicBezTo>
                  <a:close/>
                  <a:moveTo>
                    <a:pt x="7" y="2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2"/>
                    <a:pt x="26" y="2"/>
                    <a:pt x="26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40" name="Freeform 26"/>
            <p:cNvSpPr>
              <a:spLocks noEditPoints="1"/>
            </p:cNvSpPr>
            <p:nvPr userDrawn="1"/>
          </p:nvSpPr>
          <p:spPr bwMode="auto">
            <a:xfrm>
              <a:off x="8523964" y="-267218"/>
              <a:ext cx="58415" cy="59193"/>
            </a:xfrm>
            <a:custGeom>
              <a:avLst/>
              <a:gdLst>
                <a:gd name="T0" fmla="*/ 1 w 35"/>
                <a:gd name="T1" fmla="*/ 11 h 35"/>
                <a:gd name="T2" fmla="*/ 14 w 35"/>
                <a:gd name="T3" fmla="*/ 11 h 35"/>
                <a:gd name="T4" fmla="*/ 14 w 35"/>
                <a:gd name="T5" fmla="*/ 7 h 35"/>
                <a:gd name="T6" fmla="*/ 4 w 35"/>
                <a:gd name="T7" fmla="*/ 7 h 35"/>
                <a:gd name="T8" fmla="*/ 4 w 35"/>
                <a:gd name="T9" fmla="*/ 5 h 35"/>
                <a:gd name="T10" fmla="*/ 14 w 35"/>
                <a:gd name="T11" fmla="*/ 5 h 35"/>
                <a:gd name="T12" fmla="*/ 14 w 35"/>
                <a:gd name="T13" fmla="*/ 0 h 35"/>
                <a:gd name="T14" fmla="*/ 17 w 35"/>
                <a:gd name="T15" fmla="*/ 0 h 35"/>
                <a:gd name="T16" fmla="*/ 17 w 35"/>
                <a:gd name="T17" fmla="*/ 5 h 35"/>
                <a:gd name="T18" fmla="*/ 26 w 35"/>
                <a:gd name="T19" fmla="*/ 5 h 35"/>
                <a:gd name="T20" fmla="*/ 26 w 35"/>
                <a:gd name="T21" fmla="*/ 7 h 35"/>
                <a:gd name="T22" fmla="*/ 17 w 35"/>
                <a:gd name="T23" fmla="*/ 7 h 35"/>
                <a:gd name="T24" fmla="*/ 17 w 35"/>
                <a:gd name="T25" fmla="*/ 11 h 35"/>
                <a:gd name="T26" fmla="*/ 20 w 35"/>
                <a:gd name="T27" fmla="*/ 11 h 35"/>
                <a:gd name="T28" fmla="*/ 30 w 35"/>
                <a:gd name="T29" fmla="*/ 2 h 35"/>
                <a:gd name="T30" fmla="*/ 32 w 35"/>
                <a:gd name="T31" fmla="*/ 4 h 35"/>
                <a:gd name="T32" fmla="*/ 25 w 35"/>
                <a:gd name="T33" fmla="*/ 11 h 35"/>
                <a:gd name="T34" fmla="*/ 35 w 35"/>
                <a:gd name="T35" fmla="*/ 11 h 35"/>
                <a:gd name="T36" fmla="*/ 35 w 35"/>
                <a:gd name="T37" fmla="*/ 14 h 35"/>
                <a:gd name="T38" fmla="*/ 22 w 35"/>
                <a:gd name="T39" fmla="*/ 14 h 35"/>
                <a:gd name="T40" fmla="*/ 15 w 35"/>
                <a:gd name="T41" fmla="*/ 18 h 35"/>
                <a:gd name="T42" fmla="*/ 29 w 35"/>
                <a:gd name="T43" fmla="*/ 18 h 35"/>
                <a:gd name="T44" fmla="*/ 29 w 35"/>
                <a:gd name="T45" fmla="*/ 35 h 35"/>
                <a:gd name="T46" fmla="*/ 26 w 35"/>
                <a:gd name="T47" fmla="*/ 35 h 35"/>
                <a:gd name="T48" fmla="*/ 26 w 35"/>
                <a:gd name="T49" fmla="*/ 33 h 35"/>
                <a:gd name="T50" fmla="*/ 10 w 35"/>
                <a:gd name="T51" fmla="*/ 33 h 35"/>
                <a:gd name="T52" fmla="*/ 10 w 35"/>
                <a:gd name="T53" fmla="*/ 35 h 35"/>
                <a:gd name="T54" fmla="*/ 7 w 35"/>
                <a:gd name="T55" fmla="*/ 35 h 35"/>
                <a:gd name="T56" fmla="*/ 7 w 35"/>
                <a:gd name="T57" fmla="*/ 22 h 35"/>
                <a:gd name="T58" fmla="*/ 1 w 35"/>
                <a:gd name="T59" fmla="*/ 24 h 35"/>
                <a:gd name="T60" fmla="*/ 0 w 35"/>
                <a:gd name="T61" fmla="*/ 21 h 35"/>
                <a:gd name="T62" fmla="*/ 17 w 35"/>
                <a:gd name="T63" fmla="*/ 14 h 35"/>
                <a:gd name="T64" fmla="*/ 1 w 35"/>
                <a:gd name="T65" fmla="*/ 14 h 35"/>
                <a:gd name="T66" fmla="*/ 1 w 35"/>
                <a:gd name="T67" fmla="*/ 11 h 35"/>
                <a:gd name="T68" fmla="*/ 10 w 35"/>
                <a:gd name="T69" fmla="*/ 20 h 35"/>
                <a:gd name="T70" fmla="*/ 10 w 35"/>
                <a:gd name="T71" fmla="*/ 24 h 35"/>
                <a:gd name="T72" fmla="*/ 26 w 35"/>
                <a:gd name="T73" fmla="*/ 24 h 35"/>
                <a:gd name="T74" fmla="*/ 26 w 35"/>
                <a:gd name="T75" fmla="*/ 20 h 35"/>
                <a:gd name="T76" fmla="*/ 11 w 35"/>
                <a:gd name="T77" fmla="*/ 20 h 35"/>
                <a:gd name="T78" fmla="*/ 10 w 35"/>
                <a:gd name="T79" fmla="*/ 20 h 35"/>
                <a:gd name="T80" fmla="*/ 10 w 35"/>
                <a:gd name="T81" fmla="*/ 30 h 35"/>
                <a:gd name="T82" fmla="*/ 26 w 35"/>
                <a:gd name="T83" fmla="*/ 30 h 35"/>
                <a:gd name="T84" fmla="*/ 26 w 35"/>
                <a:gd name="T85" fmla="*/ 26 h 35"/>
                <a:gd name="T86" fmla="*/ 10 w 35"/>
                <a:gd name="T87" fmla="*/ 26 h 35"/>
                <a:gd name="T88" fmla="*/ 10 w 35"/>
                <a:gd name="T89" fmla="*/ 3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5" h="35">
                  <a:moveTo>
                    <a:pt x="1" y="11"/>
                  </a:moveTo>
                  <a:cubicBezTo>
                    <a:pt x="14" y="11"/>
                    <a:pt x="14" y="11"/>
                    <a:pt x="14" y="11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4" y="9"/>
                    <a:pt x="27" y="6"/>
                    <a:pt x="30" y="2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0" y="7"/>
                    <a:pt x="28" y="9"/>
                    <a:pt x="2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0" y="15"/>
                    <a:pt x="18" y="16"/>
                    <a:pt x="15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2"/>
                    <a:pt x="4" y="23"/>
                    <a:pt x="1" y="24"/>
                  </a:cubicBezTo>
                  <a:cubicBezTo>
                    <a:pt x="1" y="23"/>
                    <a:pt x="1" y="22"/>
                    <a:pt x="0" y="21"/>
                  </a:cubicBezTo>
                  <a:cubicBezTo>
                    <a:pt x="6" y="19"/>
                    <a:pt x="12" y="17"/>
                    <a:pt x="17" y="14"/>
                  </a:cubicBezTo>
                  <a:cubicBezTo>
                    <a:pt x="1" y="14"/>
                    <a:pt x="1" y="14"/>
                    <a:pt x="1" y="14"/>
                  </a:cubicBezTo>
                  <a:lnTo>
                    <a:pt x="1" y="11"/>
                  </a:lnTo>
                  <a:close/>
                  <a:moveTo>
                    <a:pt x="10" y="20"/>
                  </a:moveTo>
                  <a:cubicBezTo>
                    <a:pt x="10" y="24"/>
                    <a:pt x="10" y="24"/>
                    <a:pt x="10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0" y="20"/>
                    <a:pt x="10" y="20"/>
                  </a:cubicBezTo>
                  <a:close/>
                  <a:moveTo>
                    <a:pt x="10" y="30"/>
                  </a:moveTo>
                  <a:cubicBezTo>
                    <a:pt x="26" y="30"/>
                    <a:pt x="26" y="30"/>
                    <a:pt x="26" y="30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10" y="26"/>
                    <a:pt x="10" y="26"/>
                    <a:pt x="10" y="26"/>
                  </a:cubicBezTo>
                  <a:lnTo>
                    <a:pt x="1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</p:grpSp>
      <p:sp>
        <p:nvSpPr>
          <p:cNvPr id="44" name="标题 7">
            <a:extLst>
              <a:ext uri="{FF2B5EF4-FFF2-40B4-BE49-F238E27FC236}">
                <a16:creationId xmlns:a16="http://schemas.microsoft.com/office/drawing/2014/main" id="{3288E2B5-EBB9-47CD-9C27-8297BA88A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547" y="132089"/>
            <a:ext cx="10515600" cy="432904"/>
          </a:xfrm>
          <a:prstGeom prst="rect">
            <a:avLst/>
          </a:prstGeom>
        </p:spPr>
        <p:txBody>
          <a:bodyPr/>
          <a:lstStyle>
            <a:lvl1pPr>
              <a:defRPr lang="zh-CN" altLang="en-US" sz="2667" b="1" kern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818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只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97117"/>
            <a:ext cx="12192000" cy="502848"/>
          </a:xfrm>
          <a:prstGeom prst="rect">
            <a:avLst/>
          </a:prstGeom>
          <a:gradFill>
            <a:gsLst>
              <a:gs pos="89000">
                <a:srgbClr val="00AB7A">
                  <a:alpha val="0"/>
                </a:srgbClr>
              </a:gs>
              <a:gs pos="45000">
                <a:srgbClr val="00AB7A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-25000" dirty="0"/>
          </a:p>
        </p:txBody>
      </p:sp>
      <p:sp>
        <p:nvSpPr>
          <p:cNvPr id="10" name="AutoShape 31"/>
          <p:cNvSpPr>
            <a:spLocks noChangeAspect="1" noChangeArrowheads="1" noTextEdit="1"/>
          </p:cNvSpPr>
          <p:nvPr/>
        </p:nvSpPr>
        <p:spPr bwMode="auto">
          <a:xfrm>
            <a:off x="565" y="236493"/>
            <a:ext cx="251119" cy="30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2" name="Freeform 34"/>
          <p:cNvSpPr>
            <a:spLocks/>
          </p:cNvSpPr>
          <p:nvPr/>
        </p:nvSpPr>
        <p:spPr bwMode="auto">
          <a:xfrm>
            <a:off x="69031" y="219203"/>
            <a:ext cx="145443" cy="145443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3" name="Freeform 34"/>
          <p:cNvSpPr>
            <a:spLocks/>
          </p:cNvSpPr>
          <p:nvPr userDrawn="1"/>
        </p:nvSpPr>
        <p:spPr bwMode="auto">
          <a:xfrm>
            <a:off x="226449" y="341831"/>
            <a:ext cx="77055" cy="77055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>
              <a:alpha val="5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grpSp>
        <p:nvGrpSpPr>
          <p:cNvPr id="42" name="组合 41"/>
          <p:cNvGrpSpPr/>
          <p:nvPr userDrawn="1"/>
        </p:nvGrpSpPr>
        <p:grpSpPr>
          <a:xfrm>
            <a:off x="10482902" y="170734"/>
            <a:ext cx="1375983" cy="344775"/>
            <a:chOff x="7550392" y="-466606"/>
            <a:chExt cx="1031987" cy="258581"/>
          </a:xfrm>
          <a:solidFill>
            <a:srgbClr val="555963"/>
          </a:solidFill>
        </p:grpSpPr>
        <p:sp>
          <p:nvSpPr>
            <p:cNvPr id="19" name="Freeform 5"/>
            <p:cNvSpPr>
              <a:spLocks/>
            </p:cNvSpPr>
            <p:nvPr userDrawn="1"/>
          </p:nvSpPr>
          <p:spPr bwMode="auto">
            <a:xfrm>
              <a:off x="7591672" y="-422211"/>
              <a:ext cx="66982" cy="65424"/>
            </a:xfrm>
            <a:custGeom>
              <a:avLst/>
              <a:gdLst>
                <a:gd name="T0" fmla="*/ 35 w 40"/>
                <a:gd name="T1" fmla="*/ 15 h 39"/>
                <a:gd name="T2" fmla="*/ 25 w 40"/>
                <a:gd name="T3" fmla="*/ 15 h 39"/>
                <a:gd name="T4" fmla="*/ 25 w 40"/>
                <a:gd name="T5" fmla="*/ 4 h 39"/>
                <a:gd name="T6" fmla="*/ 20 w 40"/>
                <a:gd name="T7" fmla="*/ 0 h 39"/>
                <a:gd name="T8" fmla="*/ 16 w 40"/>
                <a:gd name="T9" fmla="*/ 4 h 39"/>
                <a:gd name="T10" fmla="*/ 16 w 40"/>
                <a:gd name="T11" fmla="*/ 15 h 39"/>
                <a:gd name="T12" fmla="*/ 5 w 40"/>
                <a:gd name="T13" fmla="*/ 15 h 39"/>
                <a:gd name="T14" fmla="*/ 0 w 40"/>
                <a:gd name="T15" fmla="*/ 20 h 39"/>
                <a:gd name="T16" fmla="*/ 0 w 40"/>
                <a:gd name="T17" fmla="*/ 20 h 39"/>
                <a:gd name="T18" fmla="*/ 5 w 40"/>
                <a:gd name="T19" fmla="*/ 24 h 39"/>
                <a:gd name="T20" fmla="*/ 16 w 40"/>
                <a:gd name="T21" fmla="*/ 24 h 39"/>
                <a:gd name="T22" fmla="*/ 16 w 40"/>
                <a:gd name="T23" fmla="*/ 35 h 39"/>
                <a:gd name="T24" fmla="*/ 20 w 40"/>
                <a:gd name="T25" fmla="*/ 39 h 39"/>
                <a:gd name="T26" fmla="*/ 25 w 40"/>
                <a:gd name="T27" fmla="*/ 35 h 39"/>
                <a:gd name="T28" fmla="*/ 25 w 40"/>
                <a:gd name="T29" fmla="*/ 24 h 39"/>
                <a:gd name="T30" fmla="*/ 35 w 40"/>
                <a:gd name="T31" fmla="*/ 24 h 39"/>
                <a:gd name="T32" fmla="*/ 40 w 40"/>
                <a:gd name="T33" fmla="*/ 20 h 39"/>
                <a:gd name="T34" fmla="*/ 40 w 40"/>
                <a:gd name="T35" fmla="*/ 20 h 39"/>
                <a:gd name="T36" fmla="*/ 35 w 40"/>
                <a:gd name="T37" fmla="*/ 1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39">
                  <a:moveTo>
                    <a:pt x="35" y="15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2"/>
                    <a:pt x="23" y="0"/>
                    <a:pt x="20" y="0"/>
                  </a:cubicBezTo>
                  <a:cubicBezTo>
                    <a:pt x="18" y="0"/>
                    <a:pt x="16" y="2"/>
                    <a:pt x="16" y="4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2" y="15"/>
                    <a:pt x="0" y="17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2" y="24"/>
                    <a:pt x="5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7"/>
                    <a:pt x="18" y="39"/>
                    <a:pt x="20" y="39"/>
                  </a:cubicBezTo>
                  <a:cubicBezTo>
                    <a:pt x="23" y="39"/>
                    <a:pt x="25" y="37"/>
                    <a:pt x="25" y="35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8" y="24"/>
                    <a:pt x="40" y="22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7"/>
                    <a:pt x="38" y="15"/>
                    <a:pt x="3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7550392" y="-466606"/>
              <a:ext cx="151098" cy="154214"/>
            </a:xfrm>
            <a:custGeom>
              <a:avLst/>
              <a:gdLst>
                <a:gd name="T0" fmla="*/ 84 w 91"/>
                <a:gd name="T1" fmla="*/ 22 h 91"/>
                <a:gd name="T2" fmla="*/ 83 w 91"/>
                <a:gd name="T3" fmla="*/ 20 h 91"/>
                <a:gd name="T4" fmla="*/ 60 w 91"/>
                <a:gd name="T5" fmla="*/ 3 h 91"/>
                <a:gd name="T6" fmla="*/ 59 w 91"/>
                <a:gd name="T7" fmla="*/ 2 h 91"/>
                <a:gd name="T8" fmla="*/ 58 w 91"/>
                <a:gd name="T9" fmla="*/ 2 h 91"/>
                <a:gd name="T10" fmla="*/ 56 w 91"/>
                <a:gd name="T11" fmla="*/ 1 h 91"/>
                <a:gd name="T12" fmla="*/ 55 w 91"/>
                <a:gd name="T13" fmla="*/ 1 h 91"/>
                <a:gd name="T14" fmla="*/ 51 w 91"/>
                <a:gd name="T15" fmla="*/ 1 h 91"/>
                <a:gd name="T16" fmla="*/ 50 w 91"/>
                <a:gd name="T17" fmla="*/ 0 h 91"/>
                <a:gd name="T18" fmla="*/ 48 w 91"/>
                <a:gd name="T19" fmla="*/ 0 h 91"/>
                <a:gd name="T20" fmla="*/ 47 w 91"/>
                <a:gd name="T21" fmla="*/ 0 h 91"/>
                <a:gd name="T22" fmla="*/ 45 w 91"/>
                <a:gd name="T23" fmla="*/ 0 h 91"/>
                <a:gd name="T24" fmla="*/ 8 w 91"/>
                <a:gd name="T25" fmla="*/ 20 h 91"/>
                <a:gd name="T26" fmla="*/ 7 w 91"/>
                <a:gd name="T27" fmla="*/ 21 h 91"/>
                <a:gd name="T28" fmla="*/ 6 w 91"/>
                <a:gd name="T29" fmla="*/ 23 h 91"/>
                <a:gd name="T30" fmla="*/ 5 w 91"/>
                <a:gd name="T31" fmla="*/ 24 h 91"/>
                <a:gd name="T32" fmla="*/ 5 w 91"/>
                <a:gd name="T33" fmla="*/ 25 h 91"/>
                <a:gd name="T34" fmla="*/ 4 w 91"/>
                <a:gd name="T35" fmla="*/ 26 h 91"/>
                <a:gd name="T36" fmla="*/ 0 w 91"/>
                <a:gd name="T37" fmla="*/ 46 h 91"/>
                <a:gd name="T38" fmla="*/ 5 w 91"/>
                <a:gd name="T39" fmla="*/ 66 h 91"/>
                <a:gd name="T40" fmla="*/ 31 w 91"/>
                <a:gd name="T41" fmla="*/ 88 h 91"/>
                <a:gd name="T42" fmla="*/ 32 w 91"/>
                <a:gd name="T43" fmla="*/ 89 h 91"/>
                <a:gd name="T44" fmla="*/ 34 w 91"/>
                <a:gd name="T45" fmla="*/ 89 h 91"/>
                <a:gd name="T46" fmla="*/ 36 w 91"/>
                <a:gd name="T47" fmla="*/ 90 h 91"/>
                <a:gd name="T48" fmla="*/ 45 w 91"/>
                <a:gd name="T49" fmla="*/ 91 h 91"/>
                <a:gd name="T50" fmla="*/ 48 w 91"/>
                <a:gd name="T51" fmla="*/ 91 h 91"/>
                <a:gd name="T52" fmla="*/ 53 w 91"/>
                <a:gd name="T53" fmla="*/ 90 h 91"/>
                <a:gd name="T54" fmla="*/ 54 w 91"/>
                <a:gd name="T55" fmla="*/ 90 h 91"/>
                <a:gd name="T56" fmla="*/ 58 w 91"/>
                <a:gd name="T57" fmla="*/ 89 h 91"/>
                <a:gd name="T58" fmla="*/ 59 w 91"/>
                <a:gd name="T59" fmla="*/ 89 h 91"/>
                <a:gd name="T60" fmla="*/ 61 w 91"/>
                <a:gd name="T61" fmla="*/ 88 h 91"/>
                <a:gd name="T62" fmla="*/ 62 w 91"/>
                <a:gd name="T63" fmla="*/ 88 h 91"/>
                <a:gd name="T64" fmla="*/ 64 w 91"/>
                <a:gd name="T65" fmla="*/ 87 h 91"/>
                <a:gd name="T66" fmla="*/ 65 w 91"/>
                <a:gd name="T67" fmla="*/ 86 h 91"/>
                <a:gd name="T68" fmla="*/ 67 w 91"/>
                <a:gd name="T69" fmla="*/ 85 h 91"/>
                <a:gd name="T70" fmla="*/ 68 w 91"/>
                <a:gd name="T71" fmla="*/ 85 h 91"/>
                <a:gd name="T72" fmla="*/ 91 w 91"/>
                <a:gd name="T73" fmla="*/ 46 h 91"/>
                <a:gd name="T74" fmla="*/ 72 w 91"/>
                <a:gd name="T75" fmla="*/ 77 h 91"/>
                <a:gd name="T76" fmla="*/ 24 w 91"/>
                <a:gd name="T77" fmla="*/ 64 h 91"/>
                <a:gd name="T78" fmla="*/ 8 w 91"/>
                <a:gd name="T79" fmla="*/ 62 h 91"/>
                <a:gd name="T80" fmla="*/ 8 w 91"/>
                <a:gd name="T81" fmla="*/ 62 h 91"/>
                <a:gd name="T82" fmla="*/ 18 w 91"/>
                <a:gd name="T83" fmla="*/ 14 h 91"/>
                <a:gd name="T84" fmla="*/ 67 w 91"/>
                <a:gd name="T85" fmla="*/ 27 h 91"/>
                <a:gd name="T86" fmla="*/ 83 w 91"/>
                <a:gd name="T87" fmla="*/ 29 h 91"/>
                <a:gd name="T88" fmla="*/ 83 w 91"/>
                <a:gd name="T89" fmla="*/ 29 h 91"/>
                <a:gd name="T90" fmla="*/ 72 w 91"/>
                <a:gd name="T91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1" h="91">
                  <a:moveTo>
                    <a:pt x="84" y="22"/>
                  </a:moveTo>
                  <a:cubicBezTo>
                    <a:pt x="84" y="22"/>
                    <a:pt x="84" y="22"/>
                    <a:pt x="84" y="22"/>
                  </a:cubicBezTo>
                  <a:cubicBezTo>
                    <a:pt x="84" y="22"/>
                    <a:pt x="84" y="21"/>
                    <a:pt x="83" y="21"/>
                  </a:cubicBezTo>
                  <a:cubicBezTo>
                    <a:pt x="83" y="21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77" y="12"/>
                    <a:pt x="69" y="6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9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7" y="2"/>
                    <a:pt x="57" y="2"/>
                    <a:pt x="56" y="2"/>
                  </a:cubicBezTo>
                  <a:cubicBezTo>
                    <a:pt x="56" y="2"/>
                    <a:pt x="56" y="2"/>
                    <a:pt x="56" y="1"/>
                  </a:cubicBezTo>
                  <a:cubicBezTo>
                    <a:pt x="56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4" y="1"/>
                    <a:pt x="53" y="1"/>
                    <a:pt x="52" y="1"/>
                  </a:cubicBezTo>
                  <a:cubicBezTo>
                    <a:pt x="52" y="1"/>
                    <a:pt x="52" y="1"/>
                    <a:pt x="51" y="1"/>
                  </a:cubicBezTo>
                  <a:cubicBezTo>
                    <a:pt x="51" y="1"/>
                    <a:pt x="51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5" y="0"/>
                    <a:pt x="45" y="0"/>
                  </a:cubicBezTo>
                  <a:cubicBezTo>
                    <a:pt x="44" y="0"/>
                    <a:pt x="44" y="0"/>
                    <a:pt x="43" y="0"/>
                  </a:cubicBezTo>
                  <a:cubicBezTo>
                    <a:pt x="28" y="1"/>
                    <a:pt x="15" y="9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7" y="20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2"/>
                    <a:pt x="6" y="22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3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5" y="25"/>
                    <a:pt x="5" y="25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1" y="32"/>
                    <a:pt x="0" y="39"/>
                    <a:pt x="0" y="46"/>
                  </a:cubicBezTo>
                  <a:cubicBezTo>
                    <a:pt x="0" y="53"/>
                    <a:pt x="2" y="60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10" y="77"/>
                    <a:pt x="19" y="85"/>
                    <a:pt x="31" y="88"/>
                  </a:cubicBezTo>
                  <a:cubicBezTo>
                    <a:pt x="31" y="88"/>
                    <a:pt x="31" y="88"/>
                    <a:pt x="31" y="88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2" y="89"/>
                    <a:pt x="32" y="89"/>
                    <a:pt x="32" y="89"/>
                  </a:cubicBezTo>
                  <a:cubicBezTo>
                    <a:pt x="32" y="89"/>
                    <a:pt x="32" y="89"/>
                    <a:pt x="33" y="89"/>
                  </a:cubicBezTo>
                  <a:cubicBezTo>
                    <a:pt x="33" y="89"/>
                    <a:pt x="34" y="89"/>
                    <a:pt x="34" y="89"/>
                  </a:cubicBezTo>
                  <a:cubicBezTo>
                    <a:pt x="34" y="89"/>
                    <a:pt x="34" y="90"/>
                    <a:pt x="34" y="90"/>
                  </a:cubicBezTo>
                  <a:cubicBezTo>
                    <a:pt x="35" y="90"/>
                    <a:pt x="35" y="90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9" y="91"/>
                    <a:pt x="42" y="91"/>
                    <a:pt x="45" y="91"/>
                  </a:cubicBezTo>
                  <a:cubicBezTo>
                    <a:pt x="46" y="91"/>
                    <a:pt x="46" y="91"/>
                    <a:pt x="47" y="91"/>
                  </a:cubicBezTo>
                  <a:cubicBezTo>
                    <a:pt x="47" y="91"/>
                    <a:pt x="47" y="91"/>
                    <a:pt x="48" y="91"/>
                  </a:cubicBezTo>
                  <a:cubicBezTo>
                    <a:pt x="49" y="91"/>
                    <a:pt x="51" y="90"/>
                    <a:pt x="53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5" y="90"/>
                    <a:pt x="56" y="89"/>
                    <a:pt x="57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60" y="88"/>
                    <a:pt x="60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7"/>
                    <a:pt x="63" y="87"/>
                    <a:pt x="63" y="87"/>
                  </a:cubicBezTo>
                  <a:cubicBezTo>
                    <a:pt x="63" y="87"/>
                    <a:pt x="64" y="87"/>
                    <a:pt x="64" y="87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5" y="87"/>
                    <a:pt x="65" y="86"/>
                    <a:pt x="65" y="86"/>
                  </a:cubicBezTo>
                  <a:cubicBezTo>
                    <a:pt x="65" y="86"/>
                    <a:pt x="65" y="86"/>
                    <a:pt x="66" y="86"/>
                  </a:cubicBezTo>
                  <a:cubicBezTo>
                    <a:pt x="66" y="86"/>
                    <a:pt x="66" y="86"/>
                    <a:pt x="67" y="85"/>
                  </a:cubicBezTo>
                  <a:cubicBezTo>
                    <a:pt x="67" y="85"/>
                    <a:pt x="67" y="85"/>
                    <a:pt x="67" y="85"/>
                  </a:cubicBezTo>
                  <a:cubicBezTo>
                    <a:pt x="67" y="85"/>
                    <a:pt x="68" y="85"/>
                    <a:pt x="68" y="85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82" y="77"/>
                    <a:pt x="91" y="62"/>
                    <a:pt x="91" y="46"/>
                  </a:cubicBezTo>
                  <a:cubicBezTo>
                    <a:pt x="91" y="37"/>
                    <a:pt x="88" y="29"/>
                    <a:pt x="84" y="22"/>
                  </a:cubicBezTo>
                  <a:close/>
                  <a:moveTo>
                    <a:pt x="72" y="77"/>
                  </a:moveTo>
                  <a:cubicBezTo>
                    <a:pt x="69" y="78"/>
                    <a:pt x="65" y="80"/>
                    <a:pt x="61" y="80"/>
                  </a:cubicBezTo>
                  <a:cubicBezTo>
                    <a:pt x="46" y="82"/>
                    <a:pt x="35" y="76"/>
                    <a:pt x="24" y="64"/>
                  </a:cubicBezTo>
                  <a:cubicBezTo>
                    <a:pt x="22" y="63"/>
                    <a:pt x="19" y="61"/>
                    <a:pt x="18" y="61"/>
                  </a:cubicBezTo>
                  <a:cubicBezTo>
                    <a:pt x="13" y="59"/>
                    <a:pt x="9" y="61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5" y="57"/>
                    <a:pt x="4" y="52"/>
                    <a:pt x="4" y="46"/>
                  </a:cubicBezTo>
                  <a:cubicBezTo>
                    <a:pt x="4" y="33"/>
                    <a:pt x="10" y="22"/>
                    <a:pt x="18" y="14"/>
                  </a:cubicBezTo>
                  <a:cubicBezTo>
                    <a:pt x="21" y="13"/>
                    <a:pt x="25" y="11"/>
                    <a:pt x="29" y="11"/>
                  </a:cubicBezTo>
                  <a:cubicBezTo>
                    <a:pt x="45" y="9"/>
                    <a:pt x="55" y="15"/>
                    <a:pt x="67" y="27"/>
                  </a:cubicBezTo>
                  <a:cubicBezTo>
                    <a:pt x="68" y="28"/>
                    <a:pt x="71" y="30"/>
                    <a:pt x="72" y="30"/>
                  </a:cubicBezTo>
                  <a:cubicBezTo>
                    <a:pt x="77" y="32"/>
                    <a:pt x="81" y="30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5" y="34"/>
                    <a:pt x="86" y="40"/>
                    <a:pt x="86" y="46"/>
                  </a:cubicBezTo>
                  <a:cubicBezTo>
                    <a:pt x="86" y="58"/>
                    <a:pt x="81" y="69"/>
                    <a:pt x="72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7717068" y="-437788"/>
              <a:ext cx="111377" cy="96578"/>
            </a:xfrm>
            <a:custGeom>
              <a:avLst/>
              <a:gdLst>
                <a:gd name="T0" fmla="*/ 67 w 67"/>
                <a:gd name="T1" fmla="*/ 20 h 57"/>
                <a:gd name="T2" fmla="*/ 47 w 67"/>
                <a:gd name="T3" fmla="*/ 0 h 57"/>
                <a:gd name="T4" fmla="*/ 0 w 67"/>
                <a:gd name="T5" fmla="*/ 0 h 57"/>
                <a:gd name="T6" fmla="*/ 0 w 67"/>
                <a:gd name="T7" fmla="*/ 3 h 57"/>
                <a:gd name="T8" fmla="*/ 5 w 67"/>
                <a:gd name="T9" fmla="*/ 8 h 57"/>
                <a:gd name="T10" fmla="*/ 47 w 67"/>
                <a:gd name="T11" fmla="*/ 8 h 57"/>
                <a:gd name="T12" fmla="*/ 58 w 67"/>
                <a:gd name="T13" fmla="*/ 20 h 57"/>
                <a:gd name="T14" fmla="*/ 58 w 67"/>
                <a:gd name="T15" fmla="*/ 22 h 57"/>
                <a:gd name="T16" fmla="*/ 58 w 67"/>
                <a:gd name="T17" fmla="*/ 23 h 57"/>
                <a:gd name="T18" fmla="*/ 57 w 67"/>
                <a:gd name="T19" fmla="*/ 23 h 57"/>
                <a:gd name="T20" fmla="*/ 6 w 67"/>
                <a:gd name="T21" fmla="*/ 23 h 57"/>
                <a:gd name="T22" fmla="*/ 6 w 67"/>
                <a:gd name="T23" fmla="*/ 32 h 57"/>
                <a:gd name="T24" fmla="*/ 57 w 67"/>
                <a:gd name="T25" fmla="*/ 32 h 57"/>
                <a:gd name="T26" fmla="*/ 58 w 67"/>
                <a:gd name="T27" fmla="*/ 32 h 57"/>
                <a:gd name="T28" fmla="*/ 58 w 67"/>
                <a:gd name="T29" fmla="*/ 32 h 57"/>
                <a:gd name="T30" fmla="*/ 58 w 67"/>
                <a:gd name="T31" fmla="*/ 37 h 57"/>
                <a:gd name="T32" fmla="*/ 47 w 67"/>
                <a:gd name="T33" fmla="*/ 48 h 57"/>
                <a:gd name="T34" fmla="*/ 5 w 67"/>
                <a:gd name="T35" fmla="*/ 48 h 57"/>
                <a:gd name="T36" fmla="*/ 0 w 67"/>
                <a:gd name="T37" fmla="*/ 53 h 57"/>
                <a:gd name="T38" fmla="*/ 0 w 67"/>
                <a:gd name="T39" fmla="*/ 57 h 57"/>
                <a:gd name="T40" fmla="*/ 46 w 67"/>
                <a:gd name="T41" fmla="*/ 57 h 57"/>
                <a:gd name="T42" fmla="*/ 60 w 67"/>
                <a:gd name="T43" fmla="*/ 52 h 57"/>
                <a:gd name="T44" fmla="*/ 67 w 67"/>
                <a:gd name="T45" fmla="*/ 37 h 57"/>
                <a:gd name="T46" fmla="*/ 67 w 67"/>
                <a:gd name="T47" fmla="*/ 2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57">
                  <a:moveTo>
                    <a:pt x="67" y="20"/>
                  </a:moveTo>
                  <a:cubicBezTo>
                    <a:pt x="67" y="9"/>
                    <a:pt x="58" y="0"/>
                    <a:pt x="4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2" y="8"/>
                    <a:pt x="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3" y="8"/>
                    <a:pt x="58" y="13"/>
                    <a:pt x="58" y="20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43"/>
                    <a:pt x="53" y="48"/>
                    <a:pt x="47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2" y="48"/>
                    <a:pt x="0" y="51"/>
                    <a:pt x="0" y="53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51" y="57"/>
                    <a:pt x="56" y="55"/>
                    <a:pt x="60" y="52"/>
                  </a:cubicBezTo>
                  <a:cubicBezTo>
                    <a:pt x="64" y="48"/>
                    <a:pt x="67" y="41"/>
                    <a:pt x="67" y="37"/>
                  </a:cubicBezTo>
                  <a:lnTo>
                    <a:pt x="67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7840127" y="-439346"/>
              <a:ext cx="109819" cy="98136"/>
            </a:xfrm>
            <a:custGeom>
              <a:avLst/>
              <a:gdLst>
                <a:gd name="T0" fmla="*/ 0 w 66"/>
                <a:gd name="T1" fmla="*/ 21 h 58"/>
                <a:gd name="T2" fmla="*/ 0 w 66"/>
                <a:gd name="T3" fmla="*/ 38 h 58"/>
                <a:gd name="T4" fmla="*/ 20 w 66"/>
                <a:gd name="T5" fmla="*/ 58 h 58"/>
                <a:gd name="T6" fmla="*/ 51 w 66"/>
                <a:gd name="T7" fmla="*/ 58 h 58"/>
                <a:gd name="T8" fmla="*/ 66 w 66"/>
                <a:gd name="T9" fmla="*/ 43 h 58"/>
                <a:gd name="T10" fmla="*/ 66 w 66"/>
                <a:gd name="T11" fmla="*/ 39 h 58"/>
                <a:gd name="T12" fmla="*/ 51 w 66"/>
                <a:gd name="T13" fmla="*/ 24 h 58"/>
                <a:gd name="T14" fmla="*/ 9 w 66"/>
                <a:gd name="T15" fmla="*/ 24 h 58"/>
                <a:gd name="T16" fmla="*/ 9 w 66"/>
                <a:gd name="T17" fmla="*/ 24 h 58"/>
                <a:gd name="T18" fmla="*/ 9 w 66"/>
                <a:gd name="T19" fmla="*/ 23 h 58"/>
                <a:gd name="T20" fmla="*/ 9 w 66"/>
                <a:gd name="T21" fmla="*/ 21 h 58"/>
                <a:gd name="T22" fmla="*/ 20 w 66"/>
                <a:gd name="T23" fmla="*/ 9 h 58"/>
                <a:gd name="T24" fmla="*/ 61 w 66"/>
                <a:gd name="T25" fmla="*/ 9 h 58"/>
                <a:gd name="T26" fmla="*/ 66 w 66"/>
                <a:gd name="T27" fmla="*/ 4 h 58"/>
                <a:gd name="T28" fmla="*/ 66 w 66"/>
                <a:gd name="T29" fmla="*/ 0 h 58"/>
                <a:gd name="T30" fmla="*/ 20 w 66"/>
                <a:gd name="T31" fmla="*/ 0 h 58"/>
                <a:gd name="T32" fmla="*/ 0 w 66"/>
                <a:gd name="T33" fmla="*/ 21 h 58"/>
                <a:gd name="T34" fmla="*/ 9 w 66"/>
                <a:gd name="T35" fmla="*/ 33 h 58"/>
                <a:gd name="T36" fmla="*/ 51 w 66"/>
                <a:gd name="T37" fmla="*/ 33 h 58"/>
                <a:gd name="T38" fmla="*/ 57 w 66"/>
                <a:gd name="T39" fmla="*/ 39 h 58"/>
                <a:gd name="T40" fmla="*/ 57 w 66"/>
                <a:gd name="T41" fmla="*/ 43 h 58"/>
                <a:gd name="T42" fmla="*/ 51 w 66"/>
                <a:gd name="T43" fmla="*/ 49 h 58"/>
                <a:gd name="T44" fmla="*/ 20 w 66"/>
                <a:gd name="T45" fmla="*/ 49 h 58"/>
                <a:gd name="T46" fmla="*/ 9 w 66"/>
                <a:gd name="T47" fmla="*/ 38 h 58"/>
                <a:gd name="T48" fmla="*/ 9 w 66"/>
                <a:gd name="T49" fmla="*/ 33 h 58"/>
                <a:gd name="T50" fmla="*/ 9 w 66"/>
                <a:gd name="T51" fmla="*/ 3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6" h="58">
                  <a:moveTo>
                    <a:pt x="0" y="21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9" y="58"/>
                    <a:pt x="20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9" y="58"/>
                    <a:pt x="66" y="51"/>
                    <a:pt x="66" y="43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1"/>
                    <a:pt x="59" y="24"/>
                    <a:pt x="51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14"/>
                    <a:pt x="14" y="9"/>
                    <a:pt x="20" y="9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3" y="9"/>
                    <a:pt x="66" y="7"/>
                    <a:pt x="66" y="4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close/>
                  <a:moveTo>
                    <a:pt x="9" y="33"/>
                  </a:moveTo>
                  <a:cubicBezTo>
                    <a:pt x="51" y="33"/>
                    <a:pt x="51" y="33"/>
                    <a:pt x="51" y="33"/>
                  </a:cubicBezTo>
                  <a:cubicBezTo>
                    <a:pt x="54" y="33"/>
                    <a:pt x="57" y="35"/>
                    <a:pt x="57" y="39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7" y="47"/>
                    <a:pt x="54" y="49"/>
                    <a:pt x="51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4" y="49"/>
                    <a:pt x="9" y="44"/>
                    <a:pt x="9" y="3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7961629" y="-439346"/>
              <a:ext cx="109819" cy="98136"/>
            </a:xfrm>
            <a:custGeom>
              <a:avLst/>
              <a:gdLst>
                <a:gd name="T0" fmla="*/ 0 w 66"/>
                <a:gd name="T1" fmla="*/ 38 h 58"/>
                <a:gd name="T2" fmla="*/ 20 w 66"/>
                <a:gd name="T3" fmla="*/ 58 h 58"/>
                <a:gd name="T4" fmla="*/ 46 w 66"/>
                <a:gd name="T5" fmla="*/ 58 h 58"/>
                <a:gd name="T6" fmla="*/ 66 w 66"/>
                <a:gd name="T7" fmla="*/ 38 h 58"/>
                <a:gd name="T8" fmla="*/ 66 w 66"/>
                <a:gd name="T9" fmla="*/ 21 h 58"/>
                <a:gd name="T10" fmla="*/ 46 w 66"/>
                <a:gd name="T11" fmla="*/ 0 h 58"/>
                <a:gd name="T12" fmla="*/ 20 w 66"/>
                <a:gd name="T13" fmla="*/ 0 h 58"/>
                <a:gd name="T14" fmla="*/ 0 w 66"/>
                <a:gd name="T15" fmla="*/ 21 h 58"/>
                <a:gd name="T16" fmla="*/ 0 w 66"/>
                <a:gd name="T17" fmla="*/ 38 h 58"/>
                <a:gd name="T18" fmla="*/ 9 w 66"/>
                <a:gd name="T19" fmla="*/ 21 h 58"/>
                <a:gd name="T20" fmla="*/ 20 w 66"/>
                <a:gd name="T21" fmla="*/ 9 h 58"/>
                <a:gd name="T22" fmla="*/ 46 w 66"/>
                <a:gd name="T23" fmla="*/ 9 h 58"/>
                <a:gd name="T24" fmla="*/ 57 w 66"/>
                <a:gd name="T25" fmla="*/ 21 h 58"/>
                <a:gd name="T26" fmla="*/ 57 w 66"/>
                <a:gd name="T27" fmla="*/ 38 h 58"/>
                <a:gd name="T28" fmla="*/ 46 w 66"/>
                <a:gd name="T29" fmla="*/ 49 h 58"/>
                <a:gd name="T30" fmla="*/ 20 w 66"/>
                <a:gd name="T31" fmla="*/ 49 h 58"/>
                <a:gd name="T32" fmla="*/ 9 w 66"/>
                <a:gd name="T33" fmla="*/ 38 h 58"/>
                <a:gd name="T34" fmla="*/ 9 w 66"/>
                <a:gd name="T35" fmla="*/ 2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58">
                  <a:moveTo>
                    <a:pt x="0" y="38"/>
                  </a:moveTo>
                  <a:cubicBezTo>
                    <a:pt x="0" y="49"/>
                    <a:pt x="9" y="58"/>
                    <a:pt x="20" y="58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57" y="58"/>
                    <a:pt x="66" y="49"/>
                    <a:pt x="66" y="38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9"/>
                    <a:pt x="57" y="0"/>
                    <a:pt x="4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lnTo>
                    <a:pt x="0" y="38"/>
                  </a:lnTo>
                  <a:close/>
                  <a:moveTo>
                    <a:pt x="9" y="21"/>
                  </a:moveTo>
                  <a:cubicBezTo>
                    <a:pt x="9" y="14"/>
                    <a:pt x="14" y="9"/>
                    <a:pt x="20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52" y="9"/>
                    <a:pt x="57" y="14"/>
                    <a:pt x="57" y="21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44"/>
                    <a:pt x="52" y="49"/>
                    <a:pt x="46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4" y="49"/>
                    <a:pt x="9" y="44"/>
                    <a:pt x="9" y="38"/>
                  </a:cubicBezTo>
                  <a:lnTo>
                    <a:pt x="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8465550" y="-439346"/>
              <a:ext cx="115271" cy="30376"/>
            </a:xfrm>
            <a:custGeom>
              <a:avLst/>
              <a:gdLst>
                <a:gd name="T0" fmla="*/ 6 w 69"/>
                <a:gd name="T1" fmla="*/ 18 h 18"/>
                <a:gd name="T2" fmla="*/ 13 w 69"/>
                <a:gd name="T3" fmla="*/ 15 h 18"/>
                <a:gd name="T4" fmla="*/ 17 w 69"/>
                <a:gd name="T5" fmla="*/ 11 h 18"/>
                <a:gd name="T6" fmla="*/ 19 w 69"/>
                <a:gd name="T7" fmla="*/ 9 h 18"/>
                <a:gd name="T8" fmla="*/ 26 w 69"/>
                <a:gd name="T9" fmla="*/ 8 h 18"/>
                <a:gd name="T10" fmla="*/ 45 w 69"/>
                <a:gd name="T11" fmla="*/ 8 h 18"/>
                <a:gd name="T12" fmla="*/ 49 w 69"/>
                <a:gd name="T13" fmla="*/ 9 h 18"/>
                <a:gd name="T14" fmla="*/ 52 w 69"/>
                <a:gd name="T15" fmla="*/ 11 h 18"/>
                <a:gd name="T16" fmla="*/ 56 w 69"/>
                <a:gd name="T17" fmla="*/ 15 h 18"/>
                <a:gd name="T18" fmla="*/ 63 w 69"/>
                <a:gd name="T19" fmla="*/ 18 h 18"/>
                <a:gd name="T20" fmla="*/ 68 w 69"/>
                <a:gd name="T21" fmla="*/ 18 h 18"/>
                <a:gd name="T22" fmla="*/ 69 w 69"/>
                <a:gd name="T23" fmla="*/ 18 h 18"/>
                <a:gd name="T24" fmla="*/ 69 w 69"/>
                <a:gd name="T25" fmla="*/ 11 h 18"/>
                <a:gd name="T26" fmla="*/ 68 w 69"/>
                <a:gd name="T27" fmla="*/ 11 h 18"/>
                <a:gd name="T28" fmla="*/ 63 w 69"/>
                <a:gd name="T29" fmla="*/ 11 h 18"/>
                <a:gd name="T30" fmla="*/ 60 w 69"/>
                <a:gd name="T31" fmla="*/ 9 h 18"/>
                <a:gd name="T32" fmla="*/ 57 w 69"/>
                <a:gd name="T33" fmla="*/ 4 h 18"/>
                <a:gd name="T34" fmla="*/ 54 w 69"/>
                <a:gd name="T35" fmla="*/ 2 h 18"/>
                <a:gd name="T36" fmla="*/ 45 w 69"/>
                <a:gd name="T37" fmla="*/ 0 h 18"/>
                <a:gd name="T38" fmla="*/ 22 w 69"/>
                <a:gd name="T39" fmla="*/ 0 h 18"/>
                <a:gd name="T40" fmla="*/ 12 w 69"/>
                <a:gd name="T41" fmla="*/ 4 h 18"/>
                <a:gd name="T42" fmla="*/ 8 w 69"/>
                <a:gd name="T43" fmla="*/ 9 h 18"/>
                <a:gd name="T44" fmla="*/ 1 w 69"/>
                <a:gd name="T45" fmla="*/ 11 h 18"/>
                <a:gd name="T46" fmla="*/ 0 w 69"/>
                <a:gd name="T47" fmla="*/ 11 h 18"/>
                <a:gd name="T48" fmla="*/ 0 w 69"/>
                <a:gd name="T49" fmla="*/ 18 h 18"/>
                <a:gd name="T50" fmla="*/ 1 w 69"/>
                <a:gd name="T51" fmla="*/ 18 h 18"/>
                <a:gd name="T52" fmla="*/ 6 w 69"/>
                <a:gd name="T5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18">
                  <a:moveTo>
                    <a:pt x="6" y="18"/>
                  </a:moveTo>
                  <a:cubicBezTo>
                    <a:pt x="9" y="18"/>
                    <a:pt x="11" y="17"/>
                    <a:pt x="13" y="15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0"/>
                    <a:pt x="18" y="9"/>
                    <a:pt x="19" y="9"/>
                  </a:cubicBezTo>
                  <a:cubicBezTo>
                    <a:pt x="20" y="8"/>
                    <a:pt x="22" y="8"/>
                    <a:pt x="26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6" y="8"/>
                    <a:pt x="48" y="8"/>
                    <a:pt x="49" y="9"/>
                  </a:cubicBezTo>
                  <a:cubicBezTo>
                    <a:pt x="50" y="9"/>
                    <a:pt x="51" y="10"/>
                    <a:pt x="52" y="11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8" y="17"/>
                    <a:pt x="60" y="18"/>
                    <a:pt x="63" y="18"/>
                  </a:cubicBezTo>
                  <a:cubicBezTo>
                    <a:pt x="64" y="18"/>
                    <a:pt x="66" y="18"/>
                    <a:pt x="68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6" y="11"/>
                    <a:pt x="64" y="11"/>
                    <a:pt x="63" y="11"/>
                  </a:cubicBezTo>
                  <a:cubicBezTo>
                    <a:pt x="62" y="10"/>
                    <a:pt x="61" y="10"/>
                    <a:pt x="60" y="9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6" y="3"/>
                    <a:pt x="55" y="2"/>
                    <a:pt x="54" y="2"/>
                  </a:cubicBezTo>
                  <a:cubicBezTo>
                    <a:pt x="52" y="1"/>
                    <a:pt x="49" y="0"/>
                    <a:pt x="4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7" y="0"/>
                    <a:pt x="14" y="2"/>
                    <a:pt x="12" y="4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11"/>
                    <a:pt x="5" y="11"/>
                    <a:pt x="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3" y="18"/>
                    <a:pt x="4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5" name="Freeform 11"/>
            <p:cNvSpPr>
              <a:spLocks/>
            </p:cNvSpPr>
            <p:nvPr userDrawn="1"/>
          </p:nvSpPr>
          <p:spPr bwMode="auto">
            <a:xfrm>
              <a:off x="8465550" y="-407413"/>
              <a:ext cx="115271" cy="69319"/>
            </a:xfrm>
            <a:custGeom>
              <a:avLst/>
              <a:gdLst>
                <a:gd name="T0" fmla="*/ 38 w 69"/>
                <a:gd name="T1" fmla="*/ 33 h 41"/>
                <a:gd name="T2" fmla="*/ 38 w 69"/>
                <a:gd name="T3" fmla="*/ 23 h 41"/>
                <a:gd name="T4" fmla="*/ 62 w 69"/>
                <a:gd name="T5" fmla="*/ 23 h 41"/>
                <a:gd name="T6" fmla="*/ 67 w 69"/>
                <a:gd name="T7" fmla="*/ 19 h 41"/>
                <a:gd name="T8" fmla="*/ 67 w 69"/>
                <a:gd name="T9" fmla="*/ 15 h 41"/>
                <a:gd name="T10" fmla="*/ 38 w 69"/>
                <a:gd name="T11" fmla="*/ 15 h 41"/>
                <a:gd name="T12" fmla="*/ 38 w 69"/>
                <a:gd name="T13" fmla="*/ 8 h 41"/>
                <a:gd name="T14" fmla="*/ 62 w 69"/>
                <a:gd name="T15" fmla="*/ 8 h 41"/>
                <a:gd name="T16" fmla="*/ 67 w 69"/>
                <a:gd name="T17" fmla="*/ 3 h 41"/>
                <a:gd name="T18" fmla="*/ 67 w 69"/>
                <a:gd name="T19" fmla="*/ 0 h 41"/>
                <a:gd name="T20" fmla="*/ 2 w 69"/>
                <a:gd name="T21" fmla="*/ 0 h 41"/>
                <a:gd name="T22" fmla="*/ 2 w 69"/>
                <a:gd name="T23" fmla="*/ 8 h 41"/>
                <a:gd name="T24" fmla="*/ 30 w 69"/>
                <a:gd name="T25" fmla="*/ 8 h 41"/>
                <a:gd name="T26" fmla="*/ 30 w 69"/>
                <a:gd name="T27" fmla="*/ 15 h 41"/>
                <a:gd name="T28" fmla="*/ 2 w 69"/>
                <a:gd name="T29" fmla="*/ 15 h 41"/>
                <a:gd name="T30" fmla="*/ 2 w 69"/>
                <a:gd name="T31" fmla="*/ 23 h 41"/>
                <a:gd name="T32" fmla="*/ 30 w 69"/>
                <a:gd name="T33" fmla="*/ 23 h 41"/>
                <a:gd name="T34" fmla="*/ 30 w 69"/>
                <a:gd name="T35" fmla="*/ 33 h 41"/>
                <a:gd name="T36" fmla="*/ 0 w 69"/>
                <a:gd name="T37" fmla="*/ 33 h 41"/>
                <a:gd name="T38" fmla="*/ 0 w 69"/>
                <a:gd name="T39" fmla="*/ 41 h 41"/>
                <a:gd name="T40" fmla="*/ 65 w 69"/>
                <a:gd name="T41" fmla="*/ 41 h 41"/>
                <a:gd name="T42" fmla="*/ 69 w 69"/>
                <a:gd name="T43" fmla="*/ 37 h 41"/>
                <a:gd name="T44" fmla="*/ 69 w 69"/>
                <a:gd name="T45" fmla="*/ 33 h 41"/>
                <a:gd name="T46" fmla="*/ 38 w 69"/>
                <a:gd name="T47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9" h="41">
                  <a:moveTo>
                    <a:pt x="38" y="33"/>
                  </a:moveTo>
                  <a:cubicBezTo>
                    <a:pt x="38" y="23"/>
                    <a:pt x="38" y="23"/>
                    <a:pt x="38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5" y="23"/>
                    <a:pt x="67" y="21"/>
                    <a:pt x="67" y="19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5" y="8"/>
                    <a:pt x="67" y="6"/>
                    <a:pt x="67" y="3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7" y="41"/>
                    <a:pt x="69" y="39"/>
                    <a:pt x="69" y="37"/>
                  </a:cubicBezTo>
                  <a:cubicBezTo>
                    <a:pt x="69" y="33"/>
                    <a:pt x="69" y="33"/>
                    <a:pt x="69" y="33"/>
                  </a:cubicBezTo>
                  <a:lnTo>
                    <a:pt x="38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6" name="Freeform 12"/>
            <p:cNvSpPr>
              <a:spLocks/>
            </p:cNvSpPr>
            <p:nvPr userDrawn="1"/>
          </p:nvSpPr>
          <p:spPr bwMode="auto">
            <a:xfrm>
              <a:off x="8339375" y="-439346"/>
              <a:ext cx="112935" cy="27260"/>
            </a:xfrm>
            <a:custGeom>
              <a:avLst/>
              <a:gdLst>
                <a:gd name="T0" fmla="*/ 7 w 68"/>
                <a:gd name="T1" fmla="*/ 13 h 16"/>
                <a:gd name="T2" fmla="*/ 8 w 68"/>
                <a:gd name="T3" fmla="*/ 11 h 16"/>
                <a:gd name="T4" fmla="*/ 13 w 68"/>
                <a:gd name="T5" fmla="*/ 10 h 16"/>
                <a:gd name="T6" fmla="*/ 57 w 68"/>
                <a:gd name="T7" fmla="*/ 10 h 16"/>
                <a:gd name="T8" fmla="*/ 60 w 68"/>
                <a:gd name="T9" fmla="*/ 12 h 16"/>
                <a:gd name="T10" fmla="*/ 61 w 68"/>
                <a:gd name="T11" fmla="*/ 13 h 16"/>
                <a:gd name="T12" fmla="*/ 61 w 68"/>
                <a:gd name="T13" fmla="*/ 16 h 16"/>
                <a:gd name="T14" fmla="*/ 68 w 68"/>
                <a:gd name="T15" fmla="*/ 16 h 16"/>
                <a:gd name="T16" fmla="*/ 68 w 68"/>
                <a:gd name="T17" fmla="*/ 12 h 16"/>
                <a:gd name="T18" fmla="*/ 65 w 68"/>
                <a:gd name="T19" fmla="*/ 6 h 16"/>
                <a:gd name="T20" fmla="*/ 57 w 68"/>
                <a:gd name="T21" fmla="*/ 4 h 16"/>
                <a:gd name="T22" fmla="*/ 38 w 68"/>
                <a:gd name="T23" fmla="*/ 4 h 16"/>
                <a:gd name="T24" fmla="*/ 38 w 68"/>
                <a:gd name="T25" fmla="*/ 0 h 16"/>
                <a:gd name="T26" fmla="*/ 30 w 68"/>
                <a:gd name="T27" fmla="*/ 0 h 16"/>
                <a:gd name="T28" fmla="*/ 30 w 68"/>
                <a:gd name="T29" fmla="*/ 4 h 16"/>
                <a:gd name="T30" fmla="*/ 10 w 68"/>
                <a:gd name="T31" fmla="*/ 4 h 16"/>
                <a:gd name="T32" fmla="*/ 3 w 68"/>
                <a:gd name="T33" fmla="*/ 6 h 16"/>
                <a:gd name="T34" fmla="*/ 0 w 68"/>
                <a:gd name="T35" fmla="*/ 12 h 16"/>
                <a:gd name="T36" fmla="*/ 0 w 68"/>
                <a:gd name="T37" fmla="*/ 16 h 16"/>
                <a:gd name="T38" fmla="*/ 7 w 68"/>
                <a:gd name="T39" fmla="*/ 16 h 16"/>
                <a:gd name="T40" fmla="*/ 7 w 68"/>
                <a:gd name="T41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8" h="16">
                  <a:moveTo>
                    <a:pt x="7" y="13"/>
                  </a:moveTo>
                  <a:cubicBezTo>
                    <a:pt x="7" y="12"/>
                    <a:pt x="8" y="11"/>
                    <a:pt x="8" y="11"/>
                  </a:cubicBezTo>
                  <a:cubicBezTo>
                    <a:pt x="9" y="11"/>
                    <a:pt x="11" y="10"/>
                    <a:pt x="13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8" y="10"/>
                    <a:pt x="59" y="11"/>
                    <a:pt x="60" y="12"/>
                  </a:cubicBezTo>
                  <a:cubicBezTo>
                    <a:pt x="61" y="12"/>
                    <a:pt x="61" y="13"/>
                    <a:pt x="61" y="13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9"/>
                    <a:pt x="67" y="7"/>
                    <a:pt x="65" y="6"/>
                  </a:cubicBezTo>
                  <a:cubicBezTo>
                    <a:pt x="63" y="4"/>
                    <a:pt x="61" y="4"/>
                    <a:pt x="57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4"/>
                    <a:pt x="5" y="4"/>
                    <a:pt x="3" y="6"/>
                  </a:cubicBezTo>
                  <a:cubicBezTo>
                    <a:pt x="1" y="7"/>
                    <a:pt x="0" y="9"/>
                    <a:pt x="0" y="1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7" y="16"/>
                    <a:pt x="7" y="16"/>
                    <a:pt x="7" y="16"/>
                  </a:cubicBezTo>
                  <a:lnTo>
                    <a:pt x="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7" name="Freeform 13"/>
            <p:cNvSpPr>
              <a:spLocks noEditPoints="1"/>
            </p:cNvSpPr>
            <p:nvPr userDrawn="1"/>
          </p:nvSpPr>
          <p:spPr bwMode="auto">
            <a:xfrm>
              <a:off x="8339375" y="-410528"/>
              <a:ext cx="112935" cy="70876"/>
            </a:xfrm>
            <a:custGeom>
              <a:avLst/>
              <a:gdLst>
                <a:gd name="T0" fmla="*/ 64 w 68"/>
                <a:gd name="T1" fmla="*/ 36 h 42"/>
                <a:gd name="T2" fmla="*/ 53 w 68"/>
                <a:gd name="T3" fmla="*/ 35 h 42"/>
                <a:gd name="T4" fmla="*/ 43 w 68"/>
                <a:gd name="T5" fmla="*/ 33 h 42"/>
                <a:gd name="T6" fmla="*/ 55 w 68"/>
                <a:gd name="T7" fmla="*/ 29 h 42"/>
                <a:gd name="T8" fmla="*/ 58 w 68"/>
                <a:gd name="T9" fmla="*/ 26 h 42"/>
                <a:gd name="T10" fmla="*/ 62 w 68"/>
                <a:gd name="T11" fmla="*/ 16 h 42"/>
                <a:gd name="T12" fmla="*/ 62 w 68"/>
                <a:gd name="T13" fmla="*/ 12 h 42"/>
                <a:gd name="T14" fmla="*/ 65 w 68"/>
                <a:gd name="T15" fmla="*/ 12 h 42"/>
                <a:gd name="T16" fmla="*/ 68 w 68"/>
                <a:gd name="T17" fmla="*/ 8 h 42"/>
                <a:gd name="T18" fmla="*/ 68 w 68"/>
                <a:gd name="T19" fmla="*/ 5 h 42"/>
                <a:gd name="T20" fmla="*/ 62 w 68"/>
                <a:gd name="T21" fmla="*/ 5 h 42"/>
                <a:gd name="T22" fmla="*/ 62 w 68"/>
                <a:gd name="T23" fmla="*/ 0 h 42"/>
                <a:gd name="T24" fmla="*/ 55 w 68"/>
                <a:gd name="T25" fmla="*/ 0 h 42"/>
                <a:gd name="T26" fmla="*/ 55 w 68"/>
                <a:gd name="T27" fmla="*/ 5 h 42"/>
                <a:gd name="T28" fmla="*/ 13 w 68"/>
                <a:gd name="T29" fmla="*/ 5 h 42"/>
                <a:gd name="T30" fmla="*/ 13 w 68"/>
                <a:gd name="T31" fmla="*/ 0 h 42"/>
                <a:gd name="T32" fmla="*/ 6 w 68"/>
                <a:gd name="T33" fmla="*/ 0 h 42"/>
                <a:gd name="T34" fmla="*/ 6 w 68"/>
                <a:gd name="T35" fmla="*/ 5 h 42"/>
                <a:gd name="T36" fmla="*/ 0 w 68"/>
                <a:gd name="T37" fmla="*/ 5 h 42"/>
                <a:gd name="T38" fmla="*/ 0 w 68"/>
                <a:gd name="T39" fmla="*/ 12 h 42"/>
                <a:gd name="T40" fmla="*/ 6 w 68"/>
                <a:gd name="T41" fmla="*/ 12 h 42"/>
                <a:gd name="T42" fmla="*/ 6 w 68"/>
                <a:gd name="T43" fmla="*/ 18 h 42"/>
                <a:gd name="T44" fmla="*/ 9 w 68"/>
                <a:gd name="T45" fmla="*/ 25 h 42"/>
                <a:gd name="T46" fmla="*/ 16 w 68"/>
                <a:gd name="T47" fmla="*/ 30 h 42"/>
                <a:gd name="T48" fmla="*/ 25 w 68"/>
                <a:gd name="T49" fmla="*/ 33 h 42"/>
                <a:gd name="T50" fmla="*/ 12 w 68"/>
                <a:gd name="T51" fmla="*/ 35 h 42"/>
                <a:gd name="T52" fmla="*/ 0 w 68"/>
                <a:gd name="T53" fmla="*/ 36 h 42"/>
                <a:gd name="T54" fmla="*/ 0 w 68"/>
                <a:gd name="T55" fmla="*/ 36 h 42"/>
                <a:gd name="T56" fmla="*/ 0 w 68"/>
                <a:gd name="T57" fmla="*/ 42 h 42"/>
                <a:gd name="T58" fmla="*/ 0 w 68"/>
                <a:gd name="T59" fmla="*/ 42 h 42"/>
                <a:gd name="T60" fmla="*/ 27 w 68"/>
                <a:gd name="T61" fmla="*/ 39 h 42"/>
                <a:gd name="T62" fmla="*/ 34 w 68"/>
                <a:gd name="T63" fmla="*/ 37 h 42"/>
                <a:gd name="T64" fmla="*/ 41 w 68"/>
                <a:gd name="T65" fmla="*/ 39 h 42"/>
                <a:gd name="T66" fmla="*/ 54 w 68"/>
                <a:gd name="T67" fmla="*/ 42 h 42"/>
                <a:gd name="T68" fmla="*/ 68 w 68"/>
                <a:gd name="T69" fmla="*/ 42 h 42"/>
                <a:gd name="T70" fmla="*/ 68 w 68"/>
                <a:gd name="T71" fmla="*/ 42 h 42"/>
                <a:gd name="T72" fmla="*/ 68 w 68"/>
                <a:gd name="T73" fmla="*/ 36 h 42"/>
                <a:gd name="T74" fmla="*/ 68 w 68"/>
                <a:gd name="T75" fmla="*/ 36 h 42"/>
                <a:gd name="T76" fmla="*/ 64 w 68"/>
                <a:gd name="T77" fmla="*/ 36 h 42"/>
                <a:gd name="T78" fmla="*/ 55 w 68"/>
                <a:gd name="T79" fmla="*/ 16 h 42"/>
                <a:gd name="T80" fmla="*/ 49 w 68"/>
                <a:gd name="T81" fmla="*/ 24 h 42"/>
                <a:gd name="T82" fmla="*/ 34 w 68"/>
                <a:gd name="T83" fmla="*/ 30 h 42"/>
                <a:gd name="T84" fmla="*/ 19 w 68"/>
                <a:gd name="T85" fmla="*/ 24 h 42"/>
                <a:gd name="T86" fmla="*/ 15 w 68"/>
                <a:gd name="T87" fmla="*/ 21 h 42"/>
                <a:gd name="T88" fmla="*/ 14 w 68"/>
                <a:gd name="T89" fmla="*/ 17 h 42"/>
                <a:gd name="T90" fmla="*/ 13 w 68"/>
                <a:gd name="T91" fmla="*/ 12 h 42"/>
                <a:gd name="T92" fmla="*/ 55 w 68"/>
                <a:gd name="T93" fmla="*/ 12 h 42"/>
                <a:gd name="T94" fmla="*/ 55 w 68"/>
                <a:gd name="T95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8" h="42">
                  <a:moveTo>
                    <a:pt x="64" y="36"/>
                  </a:moveTo>
                  <a:cubicBezTo>
                    <a:pt x="59" y="36"/>
                    <a:pt x="56" y="35"/>
                    <a:pt x="53" y="35"/>
                  </a:cubicBezTo>
                  <a:cubicBezTo>
                    <a:pt x="50" y="35"/>
                    <a:pt x="47" y="34"/>
                    <a:pt x="43" y="33"/>
                  </a:cubicBezTo>
                  <a:cubicBezTo>
                    <a:pt x="50" y="30"/>
                    <a:pt x="54" y="29"/>
                    <a:pt x="55" y="29"/>
                  </a:cubicBezTo>
                  <a:cubicBezTo>
                    <a:pt x="56" y="28"/>
                    <a:pt x="57" y="27"/>
                    <a:pt x="58" y="26"/>
                  </a:cubicBezTo>
                  <a:cubicBezTo>
                    <a:pt x="61" y="24"/>
                    <a:pt x="62" y="21"/>
                    <a:pt x="62" y="16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7" y="12"/>
                    <a:pt x="68" y="10"/>
                    <a:pt x="68" y="8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21"/>
                    <a:pt x="7" y="24"/>
                    <a:pt x="9" y="25"/>
                  </a:cubicBezTo>
                  <a:cubicBezTo>
                    <a:pt x="11" y="27"/>
                    <a:pt x="14" y="29"/>
                    <a:pt x="16" y="30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1" y="34"/>
                    <a:pt x="17" y="35"/>
                    <a:pt x="12" y="35"/>
                  </a:cubicBezTo>
                  <a:cubicBezTo>
                    <a:pt x="9" y="35"/>
                    <a:pt x="5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2" y="42"/>
                    <a:pt x="21" y="41"/>
                    <a:pt x="27" y="39"/>
                  </a:cubicBezTo>
                  <a:cubicBezTo>
                    <a:pt x="28" y="39"/>
                    <a:pt x="31" y="38"/>
                    <a:pt x="34" y="37"/>
                  </a:cubicBezTo>
                  <a:cubicBezTo>
                    <a:pt x="37" y="38"/>
                    <a:pt x="39" y="39"/>
                    <a:pt x="41" y="39"/>
                  </a:cubicBezTo>
                  <a:cubicBezTo>
                    <a:pt x="44" y="40"/>
                    <a:pt x="49" y="41"/>
                    <a:pt x="54" y="42"/>
                  </a:cubicBezTo>
                  <a:cubicBezTo>
                    <a:pt x="58" y="42"/>
                    <a:pt x="63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6" y="36"/>
                    <a:pt x="64" y="36"/>
                    <a:pt x="64" y="36"/>
                  </a:cubicBezTo>
                  <a:close/>
                  <a:moveTo>
                    <a:pt x="55" y="16"/>
                  </a:moveTo>
                  <a:cubicBezTo>
                    <a:pt x="55" y="20"/>
                    <a:pt x="53" y="22"/>
                    <a:pt x="49" y="24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7" y="23"/>
                    <a:pt x="16" y="22"/>
                    <a:pt x="15" y="21"/>
                  </a:cubicBezTo>
                  <a:cubicBezTo>
                    <a:pt x="14" y="20"/>
                    <a:pt x="14" y="19"/>
                    <a:pt x="14" y="17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55" y="12"/>
                    <a:pt x="55" y="12"/>
                    <a:pt x="55" y="12"/>
                  </a:cubicBezTo>
                  <a:lnTo>
                    <a:pt x="5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8" name="Freeform 14"/>
            <p:cNvSpPr>
              <a:spLocks/>
            </p:cNvSpPr>
            <p:nvPr userDrawn="1"/>
          </p:nvSpPr>
          <p:spPr bwMode="auto">
            <a:xfrm>
              <a:off x="8081573" y="-437788"/>
              <a:ext cx="56078" cy="98136"/>
            </a:xfrm>
            <a:custGeom>
              <a:avLst/>
              <a:gdLst>
                <a:gd name="T0" fmla="*/ 0 w 34"/>
                <a:gd name="T1" fmla="*/ 7 h 58"/>
                <a:gd name="T2" fmla="*/ 14 w 34"/>
                <a:gd name="T3" fmla="*/ 7 h 58"/>
                <a:gd name="T4" fmla="*/ 14 w 34"/>
                <a:gd name="T5" fmla="*/ 51 h 58"/>
                <a:gd name="T6" fmla="*/ 9 w 34"/>
                <a:gd name="T7" fmla="*/ 51 h 58"/>
                <a:gd name="T8" fmla="*/ 9 w 34"/>
                <a:gd name="T9" fmla="*/ 15 h 58"/>
                <a:gd name="T10" fmla="*/ 2 w 34"/>
                <a:gd name="T11" fmla="*/ 15 h 58"/>
                <a:gd name="T12" fmla="*/ 2 w 34"/>
                <a:gd name="T13" fmla="*/ 51 h 58"/>
                <a:gd name="T14" fmla="*/ 0 w 34"/>
                <a:gd name="T15" fmla="*/ 51 h 58"/>
                <a:gd name="T16" fmla="*/ 0 w 34"/>
                <a:gd name="T17" fmla="*/ 58 h 58"/>
                <a:gd name="T18" fmla="*/ 27 w 34"/>
                <a:gd name="T19" fmla="*/ 58 h 58"/>
                <a:gd name="T20" fmla="*/ 34 w 34"/>
                <a:gd name="T21" fmla="*/ 51 h 58"/>
                <a:gd name="T22" fmla="*/ 34 w 34"/>
                <a:gd name="T23" fmla="*/ 51 h 58"/>
                <a:gd name="T24" fmla="*/ 21 w 34"/>
                <a:gd name="T25" fmla="*/ 51 h 58"/>
                <a:gd name="T26" fmla="*/ 21 w 34"/>
                <a:gd name="T27" fmla="*/ 29 h 58"/>
                <a:gd name="T28" fmla="*/ 34 w 34"/>
                <a:gd name="T29" fmla="*/ 29 h 58"/>
                <a:gd name="T30" fmla="*/ 34 w 34"/>
                <a:gd name="T31" fmla="*/ 22 h 58"/>
                <a:gd name="T32" fmla="*/ 21 w 34"/>
                <a:gd name="T33" fmla="*/ 22 h 58"/>
                <a:gd name="T34" fmla="*/ 21 w 34"/>
                <a:gd name="T35" fmla="*/ 7 h 58"/>
                <a:gd name="T36" fmla="*/ 27 w 34"/>
                <a:gd name="T37" fmla="*/ 7 h 58"/>
                <a:gd name="T38" fmla="*/ 34 w 34"/>
                <a:gd name="T39" fmla="*/ 1 h 58"/>
                <a:gd name="T40" fmla="*/ 34 w 34"/>
                <a:gd name="T41" fmla="*/ 0 h 58"/>
                <a:gd name="T42" fmla="*/ 0 w 34"/>
                <a:gd name="T43" fmla="*/ 0 h 58"/>
                <a:gd name="T44" fmla="*/ 0 w 34"/>
                <a:gd name="T45" fmla="*/ 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58">
                  <a:moveTo>
                    <a:pt x="0" y="7"/>
                  </a:moveTo>
                  <a:cubicBezTo>
                    <a:pt x="14" y="7"/>
                    <a:pt x="14" y="7"/>
                    <a:pt x="14" y="7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31" y="58"/>
                    <a:pt x="34" y="55"/>
                    <a:pt x="34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31" y="7"/>
                    <a:pt x="34" y="4"/>
                    <a:pt x="34" y="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9" name="Freeform 15"/>
            <p:cNvSpPr>
              <a:spLocks/>
            </p:cNvSpPr>
            <p:nvPr userDrawn="1"/>
          </p:nvSpPr>
          <p:spPr bwMode="auto">
            <a:xfrm>
              <a:off x="8137651" y="-440903"/>
              <a:ext cx="58415" cy="101252"/>
            </a:xfrm>
            <a:custGeom>
              <a:avLst/>
              <a:gdLst>
                <a:gd name="T0" fmla="*/ 30 w 35"/>
                <a:gd name="T1" fmla="*/ 29 h 60"/>
                <a:gd name="T2" fmla="*/ 32 w 35"/>
                <a:gd name="T3" fmla="*/ 12 h 60"/>
                <a:gd name="T4" fmla="*/ 35 w 35"/>
                <a:gd name="T5" fmla="*/ 12 h 60"/>
                <a:gd name="T6" fmla="*/ 35 w 35"/>
                <a:gd name="T7" fmla="*/ 5 h 60"/>
                <a:gd name="T8" fmla="*/ 14 w 35"/>
                <a:gd name="T9" fmla="*/ 5 h 60"/>
                <a:gd name="T10" fmla="*/ 15 w 35"/>
                <a:gd name="T11" fmla="*/ 0 h 60"/>
                <a:gd name="T12" fmla="*/ 7 w 35"/>
                <a:gd name="T13" fmla="*/ 0 h 60"/>
                <a:gd name="T14" fmla="*/ 7 w 35"/>
                <a:gd name="T15" fmla="*/ 1 h 60"/>
                <a:gd name="T16" fmla="*/ 3 w 35"/>
                <a:gd name="T17" fmla="*/ 12 h 60"/>
                <a:gd name="T18" fmla="*/ 1 w 35"/>
                <a:gd name="T19" fmla="*/ 14 h 60"/>
                <a:gd name="T20" fmla="*/ 0 w 35"/>
                <a:gd name="T21" fmla="*/ 14 h 60"/>
                <a:gd name="T22" fmla="*/ 0 w 35"/>
                <a:gd name="T23" fmla="*/ 21 h 60"/>
                <a:gd name="T24" fmla="*/ 1 w 35"/>
                <a:gd name="T25" fmla="*/ 21 h 60"/>
                <a:gd name="T26" fmla="*/ 8 w 35"/>
                <a:gd name="T27" fmla="*/ 18 h 60"/>
                <a:gd name="T28" fmla="*/ 12 w 35"/>
                <a:gd name="T29" fmla="*/ 12 h 60"/>
                <a:gd name="T30" fmla="*/ 24 w 35"/>
                <a:gd name="T31" fmla="*/ 12 h 60"/>
                <a:gd name="T32" fmla="*/ 23 w 35"/>
                <a:gd name="T33" fmla="*/ 29 h 60"/>
                <a:gd name="T34" fmla="*/ 19 w 35"/>
                <a:gd name="T35" fmla="*/ 40 h 60"/>
                <a:gd name="T36" fmla="*/ 15 w 35"/>
                <a:gd name="T37" fmla="*/ 32 h 60"/>
                <a:gd name="T38" fmla="*/ 12 w 35"/>
                <a:gd name="T39" fmla="*/ 20 h 60"/>
                <a:gd name="T40" fmla="*/ 12 w 35"/>
                <a:gd name="T41" fmla="*/ 20 h 60"/>
                <a:gd name="T42" fmla="*/ 5 w 35"/>
                <a:gd name="T43" fmla="*/ 20 h 60"/>
                <a:gd name="T44" fmla="*/ 5 w 35"/>
                <a:gd name="T45" fmla="*/ 20 h 60"/>
                <a:gd name="T46" fmla="*/ 11 w 35"/>
                <a:gd name="T47" fmla="*/ 40 h 60"/>
                <a:gd name="T48" fmla="*/ 14 w 35"/>
                <a:gd name="T49" fmla="*/ 46 h 60"/>
                <a:gd name="T50" fmla="*/ 3 w 35"/>
                <a:gd name="T51" fmla="*/ 53 h 60"/>
                <a:gd name="T52" fmla="*/ 3 w 35"/>
                <a:gd name="T53" fmla="*/ 53 h 60"/>
                <a:gd name="T54" fmla="*/ 3 w 35"/>
                <a:gd name="T55" fmla="*/ 60 h 60"/>
                <a:gd name="T56" fmla="*/ 3 w 35"/>
                <a:gd name="T57" fmla="*/ 60 h 60"/>
                <a:gd name="T58" fmla="*/ 11 w 35"/>
                <a:gd name="T59" fmla="*/ 57 h 60"/>
                <a:gd name="T60" fmla="*/ 19 w 35"/>
                <a:gd name="T61" fmla="*/ 51 h 60"/>
                <a:gd name="T62" fmla="*/ 25 w 35"/>
                <a:gd name="T63" fmla="*/ 55 h 60"/>
                <a:gd name="T64" fmla="*/ 34 w 35"/>
                <a:gd name="T65" fmla="*/ 60 h 60"/>
                <a:gd name="T66" fmla="*/ 35 w 35"/>
                <a:gd name="T67" fmla="*/ 60 h 60"/>
                <a:gd name="T68" fmla="*/ 35 w 35"/>
                <a:gd name="T69" fmla="*/ 53 h 60"/>
                <a:gd name="T70" fmla="*/ 35 w 35"/>
                <a:gd name="T71" fmla="*/ 53 h 60"/>
                <a:gd name="T72" fmla="*/ 24 w 35"/>
                <a:gd name="T73" fmla="*/ 46 h 60"/>
                <a:gd name="T74" fmla="*/ 28 w 35"/>
                <a:gd name="T75" fmla="*/ 38 h 60"/>
                <a:gd name="T76" fmla="*/ 30 w 35"/>
                <a:gd name="T77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" h="60">
                  <a:moveTo>
                    <a:pt x="30" y="29"/>
                  </a:moveTo>
                  <a:cubicBezTo>
                    <a:pt x="31" y="24"/>
                    <a:pt x="31" y="18"/>
                    <a:pt x="32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7"/>
                    <a:pt x="4" y="11"/>
                    <a:pt x="3" y="12"/>
                  </a:cubicBezTo>
                  <a:cubicBezTo>
                    <a:pt x="3" y="13"/>
                    <a:pt x="2" y="14"/>
                    <a:pt x="1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1"/>
                    <a:pt x="6" y="19"/>
                    <a:pt x="8" y="18"/>
                  </a:cubicBezTo>
                  <a:cubicBezTo>
                    <a:pt x="9" y="16"/>
                    <a:pt x="11" y="14"/>
                    <a:pt x="12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3" y="21"/>
                    <a:pt x="23" y="26"/>
                    <a:pt x="23" y="29"/>
                  </a:cubicBezTo>
                  <a:cubicBezTo>
                    <a:pt x="22" y="32"/>
                    <a:pt x="21" y="36"/>
                    <a:pt x="19" y="40"/>
                  </a:cubicBezTo>
                  <a:cubicBezTo>
                    <a:pt x="17" y="37"/>
                    <a:pt x="16" y="35"/>
                    <a:pt x="15" y="32"/>
                  </a:cubicBezTo>
                  <a:cubicBezTo>
                    <a:pt x="14" y="29"/>
                    <a:pt x="13" y="25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7" y="29"/>
                    <a:pt x="9" y="36"/>
                    <a:pt x="11" y="40"/>
                  </a:cubicBezTo>
                  <a:cubicBezTo>
                    <a:pt x="12" y="41"/>
                    <a:pt x="13" y="43"/>
                    <a:pt x="14" y="46"/>
                  </a:cubicBezTo>
                  <a:cubicBezTo>
                    <a:pt x="11" y="49"/>
                    <a:pt x="7" y="51"/>
                    <a:pt x="3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6" y="59"/>
                    <a:pt x="9" y="58"/>
                    <a:pt x="11" y="57"/>
                  </a:cubicBezTo>
                  <a:cubicBezTo>
                    <a:pt x="14" y="55"/>
                    <a:pt x="16" y="54"/>
                    <a:pt x="19" y="51"/>
                  </a:cubicBezTo>
                  <a:cubicBezTo>
                    <a:pt x="21" y="53"/>
                    <a:pt x="23" y="54"/>
                    <a:pt x="25" y="55"/>
                  </a:cubicBezTo>
                  <a:cubicBezTo>
                    <a:pt x="27" y="57"/>
                    <a:pt x="30" y="58"/>
                    <a:pt x="34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0" y="51"/>
                    <a:pt x="27" y="49"/>
                    <a:pt x="24" y="46"/>
                  </a:cubicBezTo>
                  <a:cubicBezTo>
                    <a:pt x="26" y="43"/>
                    <a:pt x="27" y="40"/>
                    <a:pt x="28" y="38"/>
                  </a:cubicBezTo>
                  <a:cubicBezTo>
                    <a:pt x="29" y="35"/>
                    <a:pt x="30" y="32"/>
                    <a:pt x="3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0" name="Freeform 16"/>
            <p:cNvSpPr>
              <a:spLocks/>
            </p:cNvSpPr>
            <p:nvPr userDrawn="1"/>
          </p:nvSpPr>
          <p:spPr bwMode="auto">
            <a:xfrm>
              <a:off x="8209306" y="-414422"/>
              <a:ext cx="113713" cy="74770"/>
            </a:xfrm>
            <a:custGeom>
              <a:avLst/>
              <a:gdLst>
                <a:gd name="T0" fmla="*/ 39 w 68"/>
                <a:gd name="T1" fmla="*/ 21 h 44"/>
                <a:gd name="T2" fmla="*/ 62 w 68"/>
                <a:gd name="T3" fmla="*/ 21 h 44"/>
                <a:gd name="T4" fmla="*/ 68 w 68"/>
                <a:gd name="T5" fmla="*/ 15 h 44"/>
                <a:gd name="T6" fmla="*/ 68 w 68"/>
                <a:gd name="T7" fmla="*/ 13 h 44"/>
                <a:gd name="T8" fmla="*/ 39 w 68"/>
                <a:gd name="T9" fmla="*/ 13 h 44"/>
                <a:gd name="T10" fmla="*/ 39 w 68"/>
                <a:gd name="T11" fmla="*/ 0 h 44"/>
                <a:gd name="T12" fmla="*/ 31 w 68"/>
                <a:gd name="T13" fmla="*/ 0 h 44"/>
                <a:gd name="T14" fmla="*/ 31 w 68"/>
                <a:gd name="T15" fmla="*/ 36 h 44"/>
                <a:gd name="T16" fmla="*/ 16 w 68"/>
                <a:gd name="T17" fmla="*/ 36 h 44"/>
                <a:gd name="T18" fmla="*/ 16 w 68"/>
                <a:gd name="T19" fmla="*/ 10 h 44"/>
                <a:gd name="T20" fmla="*/ 8 w 68"/>
                <a:gd name="T21" fmla="*/ 10 h 44"/>
                <a:gd name="T22" fmla="*/ 8 w 68"/>
                <a:gd name="T23" fmla="*/ 36 h 44"/>
                <a:gd name="T24" fmla="*/ 0 w 68"/>
                <a:gd name="T25" fmla="*/ 36 h 44"/>
                <a:gd name="T26" fmla="*/ 0 w 68"/>
                <a:gd name="T27" fmla="*/ 44 h 44"/>
                <a:gd name="T28" fmla="*/ 62 w 68"/>
                <a:gd name="T29" fmla="*/ 44 h 44"/>
                <a:gd name="T30" fmla="*/ 68 w 68"/>
                <a:gd name="T31" fmla="*/ 38 h 44"/>
                <a:gd name="T32" fmla="*/ 68 w 68"/>
                <a:gd name="T33" fmla="*/ 36 h 44"/>
                <a:gd name="T34" fmla="*/ 39 w 68"/>
                <a:gd name="T35" fmla="*/ 36 h 44"/>
                <a:gd name="T36" fmla="*/ 39 w 68"/>
                <a:gd name="T37" fmla="*/ 2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8" h="44">
                  <a:moveTo>
                    <a:pt x="39" y="21"/>
                  </a:moveTo>
                  <a:cubicBezTo>
                    <a:pt x="62" y="21"/>
                    <a:pt x="62" y="21"/>
                    <a:pt x="62" y="21"/>
                  </a:cubicBezTo>
                  <a:cubicBezTo>
                    <a:pt x="65" y="21"/>
                    <a:pt x="68" y="18"/>
                    <a:pt x="68" y="15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5" y="44"/>
                    <a:pt x="68" y="41"/>
                    <a:pt x="68" y="38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39" y="36"/>
                    <a:pt x="39" y="36"/>
                    <a:pt x="39" y="36"/>
                  </a:cubicBezTo>
                  <a:lnTo>
                    <a:pt x="3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1" name="Freeform 17"/>
            <p:cNvSpPr>
              <a:spLocks/>
            </p:cNvSpPr>
            <p:nvPr userDrawn="1"/>
          </p:nvSpPr>
          <p:spPr bwMode="auto">
            <a:xfrm>
              <a:off x="8209306" y="-440903"/>
              <a:ext cx="115271" cy="40501"/>
            </a:xfrm>
            <a:custGeom>
              <a:avLst/>
              <a:gdLst>
                <a:gd name="T0" fmla="*/ 68 w 69"/>
                <a:gd name="T1" fmla="*/ 17 h 24"/>
                <a:gd name="T2" fmla="*/ 63 w 69"/>
                <a:gd name="T3" fmla="*/ 16 h 24"/>
                <a:gd name="T4" fmla="*/ 60 w 69"/>
                <a:gd name="T5" fmla="*/ 13 h 24"/>
                <a:gd name="T6" fmla="*/ 56 w 69"/>
                <a:gd name="T7" fmla="*/ 7 h 24"/>
                <a:gd name="T8" fmla="*/ 52 w 69"/>
                <a:gd name="T9" fmla="*/ 2 h 24"/>
                <a:gd name="T10" fmla="*/ 44 w 69"/>
                <a:gd name="T11" fmla="*/ 0 h 24"/>
                <a:gd name="T12" fmla="*/ 22 w 69"/>
                <a:gd name="T13" fmla="*/ 0 h 24"/>
                <a:gd name="T14" fmla="*/ 11 w 69"/>
                <a:gd name="T15" fmla="*/ 7 h 24"/>
                <a:gd name="T16" fmla="*/ 8 w 69"/>
                <a:gd name="T17" fmla="*/ 13 h 24"/>
                <a:gd name="T18" fmla="*/ 4 w 69"/>
                <a:gd name="T19" fmla="*/ 17 h 24"/>
                <a:gd name="T20" fmla="*/ 0 w 69"/>
                <a:gd name="T21" fmla="*/ 17 h 24"/>
                <a:gd name="T22" fmla="*/ 0 w 69"/>
                <a:gd name="T23" fmla="*/ 17 h 24"/>
                <a:gd name="T24" fmla="*/ 0 w 69"/>
                <a:gd name="T25" fmla="*/ 24 h 24"/>
                <a:gd name="T26" fmla="*/ 0 w 69"/>
                <a:gd name="T27" fmla="*/ 24 h 24"/>
                <a:gd name="T28" fmla="*/ 8 w 69"/>
                <a:gd name="T29" fmla="*/ 23 h 24"/>
                <a:gd name="T30" fmla="*/ 15 w 69"/>
                <a:gd name="T31" fmla="*/ 17 h 24"/>
                <a:gd name="T32" fmla="*/ 18 w 69"/>
                <a:gd name="T33" fmla="*/ 10 h 24"/>
                <a:gd name="T34" fmla="*/ 20 w 69"/>
                <a:gd name="T35" fmla="*/ 8 h 24"/>
                <a:gd name="T36" fmla="*/ 23 w 69"/>
                <a:gd name="T37" fmla="*/ 8 h 24"/>
                <a:gd name="T38" fmla="*/ 44 w 69"/>
                <a:gd name="T39" fmla="*/ 8 h 24"/>
                <a:gd name="T40" fmla="*/ 48 w 69"/>
                <a:gd name="T41" fmla="*/ 8 h 24"/>
                <a:gd name="T42" fmla="*/ 50 w 69"/>
                <a:gd name="T43" fmla="*/ 10 h 24"/>
                <a:gd name="T44" fmla="*/ 54 w 69"/>
                <a:gd name="T45" fmla="*/ 18 h 24"/>
                <a:gd name="T46" fmla="*/ 59 w 69"/>
                <a:gd name="T47" fmla="*/ 23 h 24"/>
                <a:gd name="T48" fmla="*/ 68 w 69"/>
                <a:gd name="T49" fmla="*/ 24 h 24"/>
                <a:gd name="T50" fmla="*/ 69 w 69"/>
                <a:gd name="T51" fmla="*/ 24 h 24"/>
                <a:gd name="T52" fmla="*/ 69 w 69"/>
                <a:gd name="T53" fmla="*/ 17 h 24"/>
                <a:gd name="T54" fmla="*/ 68 w 69"/>
                <a:gd name="T55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9" h="24">
                  <a:moveTo>
                    <a:pt x="68" y="17"/>
                  </a:moveTo>
                  <a:cubicBezTo>
                    <a:pt x="66" y="17"/>
                    <a:pt x="64" y="17"/>
                    <a:pt x="63" y="16"/>
                  </a:cubicBezTo>
                  <a:cubicBezTo>
                    <a:pt x="61" y="16"/>
                    <a:pt x="60" y="15"/>
                    <a:pt x="60" y="13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5" y="4"/>
                    <a:pt x="54" y="3"/>
                    <a:pt x="52" y="2"/>
                  </a:cubicBezTo>
                  <a:cubicBezTo>
                    <a:pt x="51" y="1"/>
                    <a:pt x="48" y="0"/>
                    <a:pt x="4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7" y="0"/>
                    <a:pt x="13" y="3"/>
                    <a:pt x="11" y="7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5"/>
                    <a:pt x="6" y="16"/>
                    <a:pt x="4" y="17"/>
                  </a:cubicBezTo>
                  <a:cubicBezTo>
                    <a:pt x="4" y="17"/>
                    <a:pt x="2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24"/>
                    <a:pt x="6" y="24"/>
                    <a:pt x="8" y="23"/>
                  </a:cubicBezTo>
                  <a:cubicBezTo>
                    <a:pt x="11" y="22"/>
                    <a:pt x="13" y="20"/>
                    <a:pt x="15" y="17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9"/>
                    <a:pt x="19" y="9"/>
                    <a:pt x="20" y="8"/>
                  </a:cubicBezTo>
                  <a:cubicBezTo>
                    <a:pt x="21" y="8"/>
                    <a:pt x="21" y="8"/>
                    <a:pt x="23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6" y="8"/>
                    <a:pt x="47" y="8"/>
                    <a:pt x="48" y="8"/>
                  </a:cubicBezTo>
                  <a:cubicBezTo>
                    <a:pt x="49" y="8"/>
                    <a:pt x="49" y="9"/>
                    <a:pt x="50" y="10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20"/>
                    <a:pt x="57" y="22"/>
                    <a:pt x="59" y="23"/>
                  </a:cubicBezTo>
                  <a:cubicBezTo>
                    <a:pt x="61" y="24"/>
                    <a:pt x="64" y="24"/>
                    <a:pt x="68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17"/>
                    <a:pt x="69" y="17"/>
                    <a:pt x="69" y="17"/>
                  </a:cubicBezTo>
                  <a:lnTo>
                    <a:pt x="6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2" name="Freeform 18"/>
            <p:cNvSpPr>
              <a:spLocks noEditPoints="1"/>
            </p:cNvSpPr>
            <p:nvPr userDrawn="1"/>
          </p:nvSpPr>
          <p:spPr bwMode="auto">
            <a:xfrm>
              <a:off x="7600239" y="-267218"/>
              <a:ext cx="59972" cy="59193"/>
            </a:xfrm>
            <a:custGeom>
              <a:avLst/>
              <a:gdLst>
                <a:gd name="T0" fmla="*/ 6 w 36"/>
                <a:gd name="T1" fmla="*/ 20 h 35"/>
                <a:gd name="T2" fmla="*/ 10 w 36"/>
                <a:gd name="T3" fmla="*/ 19 h 35"/>
                <a:gd name="T4" fmla="*/ 18 w 36"/>
                <a:gd name="T5" fmla="*/ 20 h 35"/>
                <a:gd name="T6" fmla="*/ 14 w 36"/>
                <a:gd name="T7" fmla="*/ 29 h 35"/>
                <a:gd name="T8" fmla="*/ 16 w 36"/>
                <a:gd name="T9" fmla="*/ 33 h 35"/>
                <a:gd name="T10" fmla="*/ 2 w 36"/>
                <a:gd name="T11" fmla="*/ 35 h 35"/>
                <a:gd name="T12" fmla="*/ 9 w 36"/>
                <a:gd name="T13" fmla="*/ 29 h 35"/>
                <a:gd name="T14" fmla="*/ 5 w 36"/>
                <a:gd name="T15" fmla="*/ 23 h 35"/>
                <a:gd name="T16" fmla="*/ 1 w 36"/>
                <a:gd name="T17" fmla="*/ 20 h 35"/>
                <a:gd name="T18" fmla="*/ 9 w 36"/>
                <a:gd name="T19" fmla="*/ 8 h 35"/>
                <a:gd name="T20" fmla="*/ 12 w 36"/>
                <a:gd name="T21" fmla="*/ 0 h 35"/>
                <a:gd name="T22" fmla="*/ 19 w 36"/>
                <a:gd name="T23" fmla="*/ 8 h 35"/>
                <a:gd name="T24" fmla="*/ 12 w 36"/>
                <a:gd name="T25" fmla="*/ 11 h 35"/>
                <a:gd name="T26" fmla="*/ 13 w 36"/>
                <a:gd name="T27" fmla="*/ 12 h 35"/>
                <a:gd name="T28" fmla="*/ 17 w 36"/>
                <a:gd name="T29" fmla="*/ 18 h 35"/>
                <a:gd name="T30" fmla="*/ 12 w 36"/>
                <a:gd name="T31" fmla="*/ 18 h 35"/>
                <a:gd name="T32" fmla="*/ 9 w 36"/>
                <a:gd name="T33" fmla="*/ 13 h 35"/>
                <a:gd name="T34" fmla="*/ 0 w 36"/>
                <a:gd name="T35" fmla="*/ 17 h 35"/>
                <a:gd name="T36" fmla="*/ 1 w 36"/>
                <a:gd name="T37" fmla="*/ 11 h 35"/>
                <a:gd name="T38" fmla="*/ 2 w 36"/>
                <a:gd name="T39" fmla="*/ 3 h 35"/>
                <a:gd name="T40" fmla="*/ 7 w 36"/>
                <a:gd name="T41" fmla="*/ 6 h 35"/>
                <a:gd name="T42" fmla="*/ 2 w 36"/>
                <a:gd name="T43" fmla="*/ 3 h 35"/>
                <a:gd name="T44" fmla="*/ 11 w 36"/>
                <a:gd name="T45" fmla="*/ 28 h 35"/>
                <a:gd name="T46" fmla="*/ 8 w 36"/>
                <a:gd name="T47" fmla="*/ 23 h 35"/>
                <a:gd name="T48" fmla="*/ 17 w 36"/>
                <a:gd name="T49" fmla="*/ 1 h 35"/>
                <a:gd name="T50" fmla="*/ 15 w 36"/>
                <a:gd name="T51" fmla="*/ 7 h 35"/>
                <a:gd name="T52" fmla="*/ 17 w 36"/>
                <a:gd name="T53" fmla="*/ 1 h 35"/>
                <a:gd name="T54" fmla="*/ 26 w 36"/>
                <a:gd name="T55" fmla="*/ 1 h 35"/>
                <a:gd name="T56" fmla="*/ 35 w 36"/>
                <a:gd name="T57" fmla="*/ 7 h 35"/>
                <a:gd name="T58" fmla="*/ 33 w 36"/>
                <a:gd name="T59" fmla="*/ 9 h 35"/>
                <a:gd name="T60" fmla="*/ 36 w 36"/>
                <a:gd name="T61" fmla="*/ 32 h 35"/>
                <a:gd name="T62" fmla="*/ 27 w 36"/>
                <a:gd name="T63" fmla="*/ 28 h 35"/>
                <a:gd name="T64" fmla="*/ 17 w 36"/>
                <a:gd name="T65" fmla="*/ 33 h 35"/>
                <a:gd name="T66" fmla="*/ 21 w 36"/>
                <a:gd name="T67" fmla="*/ 14 h 35"/>
                <a:gd name="T68" fmla="*/ 18 w 36"/>
                <a:gd name="T69" fmla="*/ 14 h 35"/>
                <a:gd name="T70" fmla="*/ 30 w 36"/>
                <a:gd name="T71" fmla="*/ 9 h 35"/>
                <a:gd name="T72" fmla="*/ 23 w 36"/>
                <a:gd name="T73" fmla="*/ 10 h 35"/>
                <a:gd name="T74" fmla="*/ 30 w 36"/>
                <a:gd name="T7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" h="35">
                  <a:moveTo>
                    <a:pt x="1" y="20"/>
                  </a:moveTo>
                  <a:cubicBezTo>
                    <a:pt x="6" y="20"/>
                    <a:pt x="6" y="20"/>
                    <a:pt x="6" y="20"/>
                  </a:cubicBezTo>
                  <a:cubicBezTo>
                    <a:pt x="7" y="20"/>
                    <a:pt x="7" y="19"/>
                    <a:pt x="8" y="18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9" y="20"/>
                    <a:pt x="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7" y="25"/>
                    <a:pt x="15" y="27"/>
                    <a:pt x="14" y="29"/>
                  </a:cubicBezTo>
                  <a:cubicBezTo>
                    <a:pt x="15" y="29"/>
                    <a:pt x="16" y="30"/>
                    <a:pt x="18" y="31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5" y="32"/>
                    <a:pt x="13" y="31"/>
                    <a:pt x="12" y="31"/>
                  </a:cubicBezTo>
                  <a:cubicBezTo>
                    <a:pt x="9" y="32"/>
                    <a:pt x="6" y="34"/>
                    <a:pt x="2" y="35"/>
                  </a:cubicBezTo>
                  <a:cubicBezTo>
                    <a:pt x="1" y="34"/>
                    <a:pt x="1" y="33"/>
                    <a:pt x="0" y="33"/>
                  </a:cubicBezTo>
                  <a:cubicBezTo>
                    <a:pt x="4" y="32"/>
                    <a:pt x="7" y="31"/>
                    <a:pt x="9" y="29"/>
                  </a:cubicBezTo>
                  <a:cubicBezTo>
                    <a:pt x="7" y="28"/>
                    <a:pt x="5" y="27"/>
                    <a:pt x="3" y="26"/>
                  </a:cubicBezTo>
                  <a:cubicBezTo>
                    <a:pt x="3" y="25"/>
                    <a:pt x="4" y="24"/>
                    <a:pt x="5" y="23"/>
                  </a:cubicBezTo>
                  <a:cubicBezTo>
                    <a:pt x="1" y="23"/>
                    <a:pt x="1" y="23"/>
                    <a:pt x="1" y="23"/>
                  </a:cubicBezTo>
                  <a:lnTo>
                    <a:pt x="1" y="20"/>
                  </a:lnTo>
                  <a:close/>
                  <a:moveTo>
                    <a:pt x="1" y="8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13"/>
                    <a:pt x="17" y="15"/>
                    <a:pt x="18" y="16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5" y="17"/>
                    <a:pt x="14" y="15"/>
                    <a:pt x="12" y="1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5"/>
                    <a:pt x="5" y="17"/>
                    <a:pt x="2" y="19"/>
                  </a:cubicBezTo>
                  <a:cubicBezTo>
                    <a:pt x="1" y="18"/>
                    <a:pt x="1" y="17"/>
                    <a:pt x="0" y="17"/>
                  </a:cubicBezTo>
                  <a:cubicBezTo>
                    <a:pt x="3" y="15"/>
                    <a:pt x="6" y="13"/>
                    <a:pt x="8" y="11"/>
                  </a:cubicBezTo>
                  <a:cubicBezTo>
                    <a:pt x="1" y="11"/>
                    <a:pt x="1" y="11"/>
                    <a:pt x="1" y="11"/>
                  </a:cubicBezTo>
                  <a:lnTo>
                    <a:pt x="1" y="8"/>
                  </a:lnTo>
                  <a:close/>
                  <a:moveTo>
                    <a:pt x="2" y="3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5" y="3"/>
                    <a:pt x="6" y="4"/>
                    <a:pt x="7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6"/>
                    <a:pt x="3" y="4"/>
                    <a:pt x="2" y="3"/>
                  </a:cubicBezTo>
                  <a:close/>
                  <a:moveTo>
                    <a:pt x="6" y="25"/>
                  </a:moveTo>
                  <a:cubicBezTo>
                    <a:pt x="8" y="26"/>
                    <a:pt x="9" y="27"/>
                    <a:pt x="11" y="28"/>
                  </a:cubicBezTo>
                  <a:cubicBezTo>
                    <a:pt x="13" y="26"/>
                    <a:pt x="14" y="25"/>
                    <a:pt x="15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4"/>
                    <a:pt x="7" y="24"/>
                    <a:pt x="6" y="25"/>
                  </a:cubicBezTo>
                  <a:close/>
                  <a:moveTo>
                    <a:pt x="17" y="1"/>
                  </a:moveTo>
                  <a:cubicBezTo>
                    <a:pt x="19" y="3"/>
                    <a:pt x="19" y="3"/>
                    <a:pt x="19" y="3"/>
                  </a:cubicBezTo>
                  <a:cubicBezTo>
                    <a:pt x="18" y="4"/>
                    <a:pt x="17" y="6"/>
                    <a:pt x="15" y="7"/>
                  </a:cubicBezTo>
                  <a:cubicBezTo>
                    <a:pt x="15" y="7"/>
                    <a:pt x="14" y="7"/>
                    <a:pt x="14" y="6"/>
                  </a:cubicBezTo>
                  <a:cubicBezTo>
                    <a:pt x="15" y="5"/>
                    <a:pt x="16" y="3"/>
                    <a:pt x="17" y="1"/>
                  </a:cubicBezTo>
                  <a:close/>
                  <a:moveTo>
                    <a:pt x="23" y="0"/>
                  </a:moveTo>
                  <a:cubicBezTo>
                    <a:pt x="26" y="1"/>
                    <a:pt x="26" y="1"/>
                    <a:pt x="26" y="1"/>
                  </a:cubicBezTo>
                  <a:cubicBezTo>
                    <a:pt x="26" y="3"/>
                    <a:pt x="25" y="5"/>
                    <a:pt x="2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16"/>
                    <a:pt x="31" y="22"/>
                    <a:pt x="29" y="26"/>
                  </a:cubicBezTo>
                  <a:cubicBezTo>
                    <a:pt x="31" y="28"/>
                    <a:pt x="33" y="30"/>
                    <a:pt x="36" y="32"/>
                  </a:cubicBezTo>
                  <a:cubicBezTo>
                    <a:pt x="35" y="33"/>
                    <a:pt x="34" y="34"/>
                    <a:pt x="34" y="35"/>
                  </a:cubicBezTo>
                  <a:cubicBezTo>
                    <a:pt x="31" y="33"/>
                    <a:pt x="29" y="31"/>
                    <a:pt x="27" y="28"/>
                  </a:cubicBezTo>
                  <a:cubicBezTo>
                    <a:pt x="25" y="31"/>
                    <a:pt x="22" y="33"/>
                    <a:pt x="19" y="35"/>
                  </a:cubicBezTo>
                  <a:cubicBezTo>
                    <a:pt x="19" y="35"/>
                    <a:pt x="18" y="34"/>
                    <a:pt x="17" y="33"/>
                  </a:cubicBezTo>
                  <a:cubicBezTo>
                    <a:pt x="20" y="31"/>
                    <a:pt x="23" y="28"/>
                    <a:pt x="25" y="26"/>
                  </a:cubicBezTo>
                  <a:cubicBezTo>
                    <a:pt x="23" y="22"/>
                    <a:pt x="22" y="19"/>
                    <a:pt x="21" y="14"/>
                  </a:cubicBezTo>
                  <a:cubicBezTo>
                    <a:pt x="21" y="15"/>
                    <a:pt x="20" y="16"/>
                    <a:pt x="20" y="17"/>
                  </a:cubicBezTo>
                  <a:cubicBezTo>
                    <a:pt x="19" y="16"/>
                    <a:pt x="19" y="15"/>
                    <a:pt x="18" y="14"/>
                  </a:cubicBezTo>
                  <a:cubicBezTo>
                    <a:pt x="21" y="11"/>
                    <a:pt x="23" y="6"/>
                    <a:pt x="23" y="0"/>
                  </a:cubicBezTo>
                  <a:close/>
                  <a:moveTo>
                    <a:pt x="30" y="9"/>
                  </a:moveTo>
                  <a:cubicBezTo>
                    <a:pt x="24" y="9"/>
                    <a:pt x="24" y="9"/>
                    <a:pt x="24" y="9"/>
                  </a:cubicBezTo>
                  <a:cubicBezTo>
                    <a:pt x="24" y="10"/>
                    <a:pt x="23" y="10"/>
                    <a:pt x="23" y="10"/>
                  </a:cubicBezTo>
                  <a:cubicBezTo>
                    <a:pt x="24" y="15"/>
                    <a:pt x="25" y="19"/>
                    <a:pt x="27" y="23"/>
                  </a:cubicBezTo>
                  <a:cubicBezTo>
                    <a:pt x="29" y="20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3" name="Freeform 19"/>
            <p:cNvSpPr>
              <a:spLocks noEditPoints="1"/>
            </p:cNvSpPr>
            <p:nvPr userDrawn="1"/>
          </p:nvSpPr>
          <p:spPr bwMode="auto">
            <a:xfrm>
              <a:off x="7717068" y="-267218"/>
              <a:ext cx="57635" cy="57636"/>
            </a:xfrm>
            <a:custGeom>
              <a:avLst/>
              <a:gdLst>
                <a:gd name="T0" fmla="*/ 0 w 35"/>
                <a:gd name="T1" fmla="*/ 21 h 34"/>
                <a:gd name="T2" fmla="*/ 17 w 35"/>
                <a:gd name="T3" fmla="*/ 21 h 34"/>
                <a:gd name="T4" fmla="*/ 17 w 35"/>
                <a:gd name="T5" fmla="*/ 19 h 34"/>
                <a:gd name="T6" fmla="*/ 23 w 35"/>
                <a:gd name="T7" fmla="*/ 14 h 34"/>
                <a:gd name="T8" fmla="*/ 6 w 35"/>
                <a:gd name="T9" fmla="*/ 14 h 34"/>
                <a:gd name="T10" fmla="*/ 6 w 35"/>
                <a:gd name="T11" fmla="*/ 12 h 34"/>
                <a:gd name="T12" fmla="*/ 28 w 35"/>
                <a:gd name="T13" fmla="*/ 12 h 34"/>
                <a:gd name="T14" fmla="*/ 28 w 35"/>
                <a:gd name="T15" fmla="*/ 15 h 34"/>
                <a:gd name="T16" fmla="*/ 19 w 35"/>
                <a:gd name="T17" fmla="*/ 20 h 34"/>
                <a:gd name="T18" fmla="*/ 19 w 35"/>
                <a:gd name="T19" fmla="*/ 21 h 34"/>
                <a:gd name="T20" fmla="*/ 35 w 35"/>
                <a:gd name="T21" fmla="*/ 21 h 34"/>
                <a:gd name="T22" fmla="*/ 35 w 35"/>
                <a:gd name="T23" fmla="*/ 23 h 34"/>
                <a:gd name="T24" fmla="*/ 19 w 35"/>
                <a:gd name="T25" fmla="*/ 23 h 34"/>
                <a:gd name="T26" fmla="*/ 19 w 35"/>
                <a:gd name="T27" fmla="*/ 30 h 34"/>
                <a:gd name="T28" fmla="*/ 15 w 35"/>
                <a:gd name="T29" fmla="*/ 34 h 34"/>
                <a:gd name="T30" fmla="*/ 10 w 35"/>
                <a:gd name="T31" fmla="*/ 34 h 34"/>
                <a:gd name="T32" fmla="*/ 9 w 35"/>
                <a:gd name="T33" fmla="*/ 31 h 34"/>
                <a:gd name="T34" fmla="*/ 14 w 35"/>
                <a:gd name="T35" fmla="*/ 32 h 34"/>
                <a:gd name="T36" fmla="*/ 17 w 35"/>
                <a:gd name="T37" fmla="*/ 29 h 34"/>
                <a:gd name="T38" fmla="*/ 17 w 35"/>
                <a:gd name="T39" fmla="*/ 23 h 34"/>
                <a:gd name="T40" fmla="*/ 0 w 35"/>
                <a:gd name="T41" fmla="*/ 23 h 34"/>
                <a:gd name="T42" fmla="*/ 0 w 35"/>
                <a:gd name="T43" fmla="*/ 21 h 34"/>
                <a:gd name="T44" fmla="*/ 1 w 35"/>
                <a:gd name="T45" fmla="*/ 5 h 34"/>
                <a:gd name="T46" fmla="*/ 18 w 35"/>
                <a:gd name="T47" fmla="*/ 5 h 34"/>
                <a:gd name="T48" fmla="*/ 14 w 35"/>
                <a:gd name="T49" fmla="*/ 1 h 34"/>
                <a:gd name="T50" fmla="*/ 17 w 35"/>
                <a:gd name="T51" fmla="*/ 0 h 34"/>
                <a:gd name="T52" fmla="*/ 20 w 35"/>
                <a:gd name="T53" fmla="*/ 4 h 34"/>
                <a:gd name="T54" fmla="*/ 19 w 35"/>
                <a:gd name="T55" fmla="*/ 5 h 34"/>
                <a:gd name="T56" fmla="*/ 34 w 35"/>
                <a:gd name="T57" fmla="*/ 5 h 34"/>
                <a:gd name="T58" fmla="*/ 34 w 35"/>
                <a:gd name="T59" fmla="*/ 12 h 34"/>
                <a:gd name="T60" fmla="*/ 31 w 35"/>
                <a:gd name="T61" fmla="*/ 12 h 34"/>
                <a:gd name="T62" fmla="*/ 31 w 35"/>
                <a:gd name="T63" fmla="*/ 8 h 34"/>
                <a:gd name="T64" fmla="*/ 4 w 35"/>
                <a:gd name="T65" fmla="*/ 8 h 34"/>
                <a:gd name="T66" fmla="*/ 4 w 35"/>
                <a:gd name="T67" fmla="*/ 12 h 34"/>
                <a:gd name="T68" fmla="*/ 1 w 35"/>
                <a:gd name="T69" fmla="*/ 12 h 34"/>
                <a:gd name="T70" fmla="*/ 1 w 35"/>
                <a:gd name="T71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" h="34">
                  <a:moveTo>
                    <a:pt x="0" y="21"/>
                  </a:moveTo>
                  <a:cubicBezTo>
                    <a:pt x="17" y="21"/>
                    <a:pt x="17" y="21"/>
                    <a:pt x="17" y="2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3"/>
                    <a:pt x="18" y="34"/>
                    <a:pt x="15" y="34"/>
                  </a:cubicBezTo>
                  <a:cubicBezTo>
                    <a:pt x="14" y="34"/>
                    <a:pt x="12" y="34"/>
                    <a:pt x="10" y="34"/>
                  </a:cubicBezTo>
                  <a:cubicBezTo>
                    <a:pt x="10" y="33"/>
                    <a:pt x="9" y="32"/>
                    <a:pt x="9" y="31"/>
                  </a:cubicBezTo>
                  <a:cubicBezTo>
                    <a:pt x="11" y="31"/>
                    <a:pt x="13" y="32"/>
                    <a:pt x="14" y="32"/>
                  </a:cubicBezTo>
                  <a:cubicBezTo>
                    <a:pt x="16" y="32"/>
                    <a:pt x="17" y="31"/>
                    <a:pt x="17" y="29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0" y="21"/>
                  </a:lnTo>
                  <a:close/>
                  <a:moveTo>
                    <a:pt x="1" y="5"/>
                  </a:moveTo>
                  <a:cubicBezTo>
                    <a:pt x="18" y="5"/>
                    <a:pt x="18" y="5"/>
                    <a:pt x="18" y="5"/>
                  </a:cubicBezTo>
                  <a:cubicBezTo>
                    <a:pt x="17" y="4"/>
                    <a:pt x="16" y="3"/>
                    <a:pt x="14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1"/>
                    <a:pt x="19" y="3"/>
                    <a:pt x="20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lnTo>
                    <a:pt x="1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4" name="Freeform 20"/>
            <p:cNvSpPr>
              <a:spLocks noEditPoints="1"/>
            </p:cNvSpPr>
            <p:nvPr userDrawn="1"/>
          </p:nvSpPr>
          <p:spPr bwMode="auto">
            <a:xfrm>
              <a:off x="7831560" y="-267218"/>
              <a:ext cx="58415" cy="57636"/>
            </a:xfrm>
            <a:custGeom>
              <a:avLst/>
              <a:gdLst>
                <a:gd name="T0" fmla="*/ 0 w 35"/>
                <a:gd name="T1" fmla="*/ 17 h 34"/>
                <a:gd name="T2" fmla="*/ 9 w 35"/>
                <a:gd name="T3" fmla="*/ 0 h 34"/>
                <a:gd name="T4" fmla="*/ 12 w 35"/>
                <a:gd name="T5" fmla="*/ 1 h 34"/>
                <a:gd name="T6" fmla="*/ 9 w 35"/>
                <a:gd name="T7" fmla="*/ 9 h 34"/>
                <a:gd name="T8" fmla="*/ 9 w 35"/>
                <a:gd name="T9" fmla="*/ 34 h 34"/>
                <a:gd name="T10" fmla="*/ 6 w 35"/>
                <a:gd name="T11" fmla="*/ 34 h 34"/>
                <a:gd name="T12" fmla="*/ 6 w 35"/>
                <a:gd name="T13" fmla="*/ 15 h 34"/>
                <a:gd name="T14" fmla="*/ 1 w 35"/>
                <a:gd name="T15" fmla="*/ 21 h 34"/>
                <a:gd name="T16" fmla="*/ 0 w 35"/>
                <a:gd name="T17" fmla="*/ 17 h 34"/>
                <a:gd name="T18" fmla="*/ 10 w 35"/>
                <a:gd name="T19" fmla="*/ 22 h 34"/>
                <a:gd name="T20" fmla="*/ 19 w 35"/>
                <a:gd name="T21" fmla="*/ 17 h 34"/>
                <a:gd name="T22" fmla="*/ 19 w 35"/>
                <a:gd name="T23" fmla="*/ 1 h 34"/>
                <a:gd name="T24" fmla="*/ 22 w 35"/>
                <a:gd name="T25" fmla="*/ 1 h 34"/>
                <a:gd name="T26" fmla="*/ 22 w 35"/>
                <a:gd name="T27" fmla="*/ 15 h 34"/>
                <a:gd name="T28" fmla="*/ 31 w 35"/>
                <a:gd name="T29" fmla="*/ 5 h 34"/>
                <a:gd name="T30" fmla="*/ 34 w 35"/>
                <a:gd name="T31" fmla="*/ 6 h 34"/>
                <a:gd name="T32" fmla="*/ 22 w 35"/>
                <a:gd name="T33" fmla="*/ 18 h 34"/>
                <a:gd name="T34" fmla="*/ 22 w 35"/>
                <a:gd name="T35" fmla="*/ 28 h 34"/>
                <a:gd name="T36" fmla="*/ 24 w 35"/>
                <a:gd name="T37" fmla="*/ 31 h 34"/>
                <a:gd name="T38" fmla="*/ 29 w 35"/>
                <a:gd name="T39" fmla="*/ 31 h 34"/>
                <a:gd name="T40" fmla="*/ 31 w 35"/>
                <a:gd name="T41" fmla="*/ 28 h 34"/>
                <a:gd name="T42" fmla="*/ 32 w 35"/>
                <a:gd name="T43" fmla="*/ 23 h 34"/>
                <a:gd name="T44" fmla="*/ 35 w 35"/>
                <a:gd name="T45" fmla="*/ 24 h 34"/>
                <a:gd name="T46" fmla="*/ 34 w 35"/>
                <a:gd name="T47" fmla="*/ 29 h 34"/>
                <a:gd name="T48" fmla="*/ 29 w 35"/>
                <a:gd name="T49" fmla="*/ 33 h 34"/>
                <a:gd name="T50" fmla="*/ 23 w 35"/>
                <a:gd name="T51" fmla="*/ 33 h 34"/>
                <a:gd name="T52" fmla="*/ 19 w 35"/>
                <a:gd name="T53" fmla="*/ 29 h 34"/>
                <a:gd name="T54" fmla="*/ 19 w 35"/>
                <a:gd name="T55" fmla="*/ 20 h 34"/>
                <a:gd name="T56" fmla="*/ 12 w 35"/>
                <a:gd name="T57" fmla="*/ 24 h 34"/>
                <a:gd name="T58" fmla="*/ 10 w 35"/>
                <a:gd name="T59" fmla="*/ 2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4">
                  <a:moveTo>
                    <a:pt x="0" y="17"/>
                  </a:moveTo>
                  <a:cubicBezTo>
                    <a:pt x="4" y="12"/>
                    <a:pt x="7" y="6"/>
                    <a:pt x="9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4"/>
                    <a:pt x="10" y="7"/>
                    <a:pt x="9" y="9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7"/>
                    <a:pt x="3" y="19"/>
                    <a:pt x="1" y="21"/>
                  </a:cubicBezTo>
                  <a:cubicBezTo>
                    <a:pt x="1" y="20"/>
                    <a:pt x="1" y="19"/>
                    <a:pt x="0" y="17"/>
                  </a:cubicBezTo>
                  <a:close/>
                  <a:moveTo>
                    <a:pt x="10" y="22"/>
                  </a:moveTo>
                  <a:cubicBezTo>
                    <a:pt x="13" y="20"/>
                    <a:pt x="16" y="19"/>
                    <a:pt x="19" y="17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5" y="12"/>
                    <a:pt x="28" y="8"/>
                    <a:pt x="31" y="5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0" y="11"/>
                    <a:pt x="26" y="15"/>
                    <a:pt x="22" y="1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30"/>
                    <a:pt x="23" y="31"/>
                    <a:pt x="24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31"/>
                    <a:pt x="31" y="30"/>
                    <a:pt x="31" y="28"/>
                  </a:cubicBezTo>
                  <a:cubicBezTo>
                    <a:pt x="32" y="27"/>
                    <a:pt x="32" y="25"/>
                    <a:pt x="32" y="23"/>
                  </a:cubicBezTo>
                  <a:cubicBezTo>
                    <a:pt x="33" y="23"/>
                    <a:pt x="34" y="24"/>
                    <a:pt x="35" y="24"/>
                  </a:cubicBezTo>
                  <a:cubicBezTo>
                    <a:pt x="35" y="26"/>
                    <a:pt x="35" y="28"/>
                    <a:pt x="34" y="29"/>
                  </a:cubicBezTo>
                  <a:cubicBezTo>
                    <a:pt x="34" y="32"/>
                    <a:pt x="32" y="33"/>
                    <a:pt x="29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0" y="33"/>
                    <a:pt x="19" y="32"/>
                    <a:pt x="19" y="29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6" y="22"/>
                    <a:pt x="14" y="23"/>
                    <a:pt x="12" y="24"/>
                  </a:cubicBezTo>
                  <a:cubicBezTo>
                    <a:pt x="11" y="24"/>
                    <a:pt x="11" y="23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5" name="Freeform 21"/>
            <p:cNvSpPr>
              <a:spLocks noEditPoints="1"/>
            </p:cNvSpPr>
            <p:nvPr userDrawn="1"/>
          </p:nvSpPr>
          <p:spPr bwMode="auto">
            <a:xfrm>
              <a:off x="7948389" y="-267218"/>
              <a:ext cx="56078" cy="59193"/>
            </a:xfrm>
            <a:custGeom>
              <a:avLst/>
              <a:gdLst>
                <a:gd name="T0" fmla="*/ 1 w 34"/>
                <a:gd name="T1" fmla="*/ 32 h 35"/>
                <a:gd name="T2" fmla="*/ 15 w 34"/>
                <a:gd name="T3" fmla="*/ 27 h 35"/>
                <a:gd name="T4" fmla="*/ 6 w 34"/>
                <a:gd name="T5" fmla="*/ 23 h 35"/>
                <a:gd name="T6" fmla="*/ 9 w 34"/>
                <a:gd name="T7" fmla="*/ 18 h 35"/>
                <a:gd name="T8" fmla="*/ 0 w 34"/>
                <a:gd name="T9" fmla="*/ 18 h 35"/>
                <a:gd name="T10" fmla="*/ 0 w 34"/>
                <a:gd name="T11" fmla="*/ 15 h 35"/>
                <a:gd name="T12" fmla="*/ 10 w 34"/>
                <a:gd name="T13" fmla="*/ 15 h 35"/>
                <a:gd name="T14" fmla="*/ 14 w 34"/>
                <a:gd name="T15" fmla="*/ 9 h 35"/>
                <a:gd name="T16" fmla="*/ 17 w 34"/>
                <a:gd name="T17" fmla="*/ 10 h 35"/>
                <a:gd name="T18" fmla="*/ 14 w 34"/>
                <a:gd name="T19" fmla="*/ 15 h 35"/>
                <a:gd name="T20" fmla="*/ 34 w 34"/>
                <a:gd name="T21" fmla="*/ 15 h 35"/>
                <a:gd name="T22" fmla="*/ 34 w 34"/>
                <a:gd name="T23" fmla="*/ 18 h 35"/>
                <a:gd name="T24" fmla="*/ 27 w 34"/>
                <a:gd name="T25" fmla="*/ 18 h 35"/>
                <a:gd name="T26" fmla="*/ 21 w 34"/>
                <a:gd name="T27" fmla="*/ 27 h 35"/>
                <a:gd name="T28" fmla="*/ 32 w 34"/>
                <a:gd name="T29" fmla="*/ 32 h 35"/>
                <a:gd name="T30" fmla="*/ 30 w 34"/>
                <a:gd name="T31" fmla="*/ 35 h 35"/>
                <a:gd name="T32" fmla="*/ 18 w 34"/>
                <a:gd name="T33" fmla="*/ 29 h 35"/>
                <a:gd name="T34" fmla="*/ 2 w 34"/>
                <a:gd name="T35" fmla="*/ 35 h 35"/>
                <a:gd name="T36" fmla="*/ 1 w 34"/>
                <a:gd name="T37" fmla="*/ 32 h 35"/>
                <a:gd name="T38" fmla="*/ 1 w 34"/>
                <a:gd name="T39" fmla="*/ 5 h 35"/>
                <a:gd name="T40" fmla="*/ 17 w 34"/>
                <a:gd name="T41" fmla="*/ 5 h 35"/>
                <a:gd name="T42" fmla="*/ 14 w 34"/>
                <a:gd name="T43" fmla="*/ 1 h 35"/>
                <a:gd name="T44" fmla="*/ 16 w 34"/>
                <a:gd name="T45" fmla="*/ 0 h 35"/>
                <a:gd name="T46" fmla="*/ 20 w 34"/>
                <a:gd name="T47" fmla="*/ 4 h 35"/>
                <a:gd name="T48" fmla="*/ 18 w 34"/>
                <a:gd name="T49" fmla="*/ 5 h 35"/>
                <a:gd name="T50" fmla="*/ 33 w 34"/>
                <a:gd name="T51" fmla="*/ 5 h 35"/>
                <a:gd name="T52" fmla="*/ 33 w 34"/>
                <a:gd name="T53" fmla="*/ 12 h 35"/>
                <a:gd name="T54" fmla="*/ 30 w 34"/>
                <a:gd name="T55" fmla="*/ 12 h 35"/>
                <a:gd name="T56" fmla="*/ 30 w 34"/>
                <a:gd name="T57" fmla="*/ 8 h 35"/>
                <a:gd name="T58" fmla="*/ 4 w 34"/>
                <a:gd name="T59" fmla="*/ 8 h 35"/>
                <a:gd name="T60" fmla="*/ 4 w 34"/>
                <a:gd name="T61" fmla="*/ 12 h 35"/>
                <a:gd name="T62" fmla="*/ 1 w 34"/>
                <a:gd name="T63" fmla="*/ 12 h 35"/>
                <a:gd name="T64" fmla="*/ 1 w 34"/>
                <a:gd name="T65" fmla="*/ 5 h 35"/>
                <a:gd name="T66" fmla="*/ 10 w 34"/>
                <a:gd name="T67" fmla="*/ 22 h 35"/>
                <a:gd name="T68" fmla="*/ 18 w 34"/>
                <a:gd name="T69" fmla="*/ 25 h 35"/>
                <a:gd name="T70" fmla="*/ 24 w 34"/>
                <a:gd name="T71" fmla="*/ 18 h 35"/>
                <a:gd name="T72" fmla="*/ 12 w 34"/>
                <a:gd name="T73" fmla="*/ 18 h 35"/>
                <a:gd name="T74" fmla="*/ 10 w 34"/>
                <a:gd name="T7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" h="35">
                  <a:moveTo>
                    <a:pt x="1" y="32"/>
                  </a:moveTo>
                  <a:cubicBezTo>
                    <a:pt x="7" y="31"/>
                    <a:pt x="12" y="29"/>
                    <a:pt x="15" y="27"/>
                  </a:cubicBezTo>
                  <a:cubicBezTo>
                    <a:pt x="12" y="26"/>
                    <a:pt x="9" y="24"/>
                    <a:pt x="6" y="23"/>
                  </a:cubicBezTo>
                  <a:cubicBezTo>
                    <a:pt x="7" y="21"/>
                    <a:pt x="8" y="19"/>
                    <a:pt x="9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2" y="13"/>
                    <a:pt x="13" y="11"/>
                    <a:pt x="14" y="9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2"/>
                    <a:pt x="15" y="13"/>
                    <a:pt x="1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21"/>
                    <a:pt x="24" y="24"/>
                    <a:pt x="21" y="27"/>
                  </a:cubicBezTo>
                  <a:cubicBezTo>
                    <a:pt x="25" y="28"/>
                    <a:pt x="28" y="30"/>
                    <a:pt x="32" y="32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7" y="33"/>
                    <a:pt x="23" y="31"/>
                    <a:pt x="18" y="29"/>
                  </a:cubicBezTo>
                  <a:cubicBezTo>
                    <a:pt x="14" y="32"/>
                    <a:pt x="9" y="33"/>
                    <a:pt x="2" y="35"/>
                  </a:cubicBezTo>
                  <a:cubicBezTo>
                    <a:pt x="2" y="34"/>
                    <a:pt x="1" y="33"/>
                    <a:pt x="1" y="32"/>
                  </a:cubicBezTo>
                  <a:close/>
                  <a:moveTo>
                    <a:pt x="1" y="5"/>
                  </a:moveTo>
                  <a:cubicBezTo>
                    <a:pt x="17" y="5"/>
                    <a:pt x="17" y="5"/>
                    <a:pt x="17" y="5"/>
                  </a:cubicBezTo>
                  <a:cubicBezTo>
                    <a:pt x="16" y="4"/>
                    <a:pt x="15" y="3"/>
                    <a:pt x="14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1"/>
                    <a:pt x="19" y="3"/>
                    <a:pt x="20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lnTo>
                    <a:pt x="1" y="5"/>
                  </a:lnTo>
                  <a:close/>
                  <a:moveTo>
                    <a:pt x="10" y="22"/>
                  </a:moveTo>
                  <a:cubicBezTo>
                    <a:pt x="12" y="23"/>
                    <a:pt x="15" y="24"/>
                    <a:pt x="18" y="25"/>
                  </a:cubicBezTo>
                  <a:cubicBezTo>
                    <a:pt x="21" y="23"/>
                    <a:pt x="23" y="21"/>
                    <a:pt x="24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10" y="20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6" name="Freeform 22"/>
            <p:cNvSpPr>
              <a:spLocks noEditPoints="1"/>
            </p:cNvSpPr>
            <p:nvPr userDrawn="1"/>
          </p:nvSpPr>
          <p:spPr bwMode="auto">
            <a:xfrm>
              <a:off x="8062881" y="-265661"/>
              <a:ext cx="58415" cy="54520"/>
            </a:xfrm>
            <a:custGeom>
              <a:avLst/>
              <a:gdLst>
                <a:gd name="T0" fmla="*/ 20 w 35"/>
                <a:gd name="T1" fmla="*/ 0 h 32"/>
                <a:gd name="T2" fmla="*/ 19 w 35"/>
                <a:gd name="T3" fmla="*/ 0 h 32"/>
                <a:gd name="T4" fmla="*/ 35 w 35"/>
                <a:gd name="T5" fmla="*/ 12 h 32"/>
                <a:gd name="T6" fmla="*/ 33 w 35"/>
                <a:gd name="T7" fmla="*/ 15 h 32"/>
                <a:gd name="T8" fmla="*/ 17 w 35"/>
                <a:gd name="T9" fmla="*/ 3 h 32"/>
                <a:gd name="T10" fmla="*/ 2 w 35"/>
                <a:gd name="T11" fmla="*/ 15 h 32"/>
                <a:gd name="T12" fmla="*/ 0 w 35"/>
                <a:gd name="T13" fmla="*/ 13 h 32"/>
                <a:gd name="T14" fmla="*/ 16 w 35"/>
                <a:gd name="T15" fmla="*/ 0 h 32"/>
                <a:gd name="T16" fmla="*/ 20 w 35"/>
                <a:gd name="T17" fmla="*/ 0 h 32"/>
                <a:gd name="T18" fmla="*/ 1 w 35"/>
                <a:gd name="T19" fmla="*/ 30 h 32"/>
                <a:gd name="T20" fmla="*/ 16 w 35"/>
                <a:gd name="T21" fmla="*/ 30 h 32"/>
                <a:gd name="T22" fmla="*/ 16 w 35"/>
                <a:gd name="T23" fmla="*/ 23 h 32"/>
                <a:gd name="T24" fmla="*/ 5 w 35"/>
                <a:gd name="T25" fmla="*/ 23 h 32"/>
                <a:gd name="T26" fmla="*/ 5 w 35"/>
                <a:gd name="T27" fmla="*/ 21 h 32"/>
                <a:gd name="T28" fmla="*/ 16 w 35"/>
                <a:gd name="T29" fmla="*/ 21 h 32"/>
                <a:gd name="T30" fmla="*/ 16 w 35"/>
                <a:gd name="T31" fmla="*/ 15 h 32"/>
                <a:gd name="T32" fmla="*/ 6 w 35"/>
                <a:gd name="T33" fmla="*/ 15 h 32"/>
                <a:gd name="T34" fmla="*/ 6 w 35"/>
                <a:gd name="T35" fmla="*/ 13 h 32"/>
                <a:gd name="T36" fmla="*/ 29 w 35"/>
                <a:gd name="T37" fmla="*/ 13 h 32"/>
                <a:gd name="T38" fmla="*/ 29 w 35"/>
                <a:gd name="T39" fmla="*/ 15 h 32"/>
                <a:gd name="T40" fmla="*/ 19 w 35"/>
                <a:gd name="T41" fmla="*/ 15 h 32"/>
                <a:gd name="T42" fmla="*/ 19 w 35"/>
                <a:gd name="T43" fmla="*/ 21 h 32"/>
                <a:gd name="T44" fmla="*/ 30 w 35"/>
                <a:gd name="T45" fmla="*/ 21 h 32"/>
                <a:gd name="T46" fmla="*/ 30 w 35"/>
                <a:gd name="T47" fmla="*/ 23 h 32"/>
                <a:gd name="T48" fmla="*/ 19 w 35"/>
                <a:gd name="T49" fmla="*/ 23 h 32"/>
                <a:gd name="T50" fmla="*/ 19 w 35"/>
                <a:gd name="T51" fmla="*/ 30 h 32"/>
                <a:gd name="T52" fmla="*/ 33 w 35"/>
                <a:gd name="T53" fmla="*/ 30 h 32"/>
                <a:gd name="T54" fmla="*/ 33 w 35"/>
                <a:gd name="T55" fmla="*/ 32 h 32"/>
                <a:gd name="T56" fmla="*/ 1 w 35"/>
                <a:gd name="T57" fmla="*/ 32 h 32"/>
                <a:gd name="T58" fmla="*/ 1 w 35"/>
                <a:gd name="T59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2">
                  <a:moveTo>
                    <a:pt x="2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23" y="6"/>
                    <a:pt x="28" y="9"/>
                    <a:pt x="35" y="12"/>
                  </a:cubicBezTo>
                  <a:cubicBezTo>
                    <a:pt x="34" y="13"/>
                    <a:pt x="34" y="14"/>
                    <a:pt x="33" y="15"/>
                  </a:cubicBezTo>
                  <a:cubicBezTo>
                    <a:pt x="27" y="12"/>
                    <a:pt x="22" y="8"/>
                    <a:pt x="17" y="3"/>
                  </a:cubicBezTo>
                  <a:cubicBezTo>
                    <a:pt x="14" y="7"/>
                    <a:pt x="9" y="11"/>
                    <a:pt x="2" y="15"/>
                  </a:cubicBezTo>
                  <a:cubicBezTo>
                    <a:pt x="1" y="15"/>
                    <a:pt x="0" y="14"/>
                    <a:pt x="0" y="13"/>
                  </a:cubicBezTo>
                  <a:cubicBezTo>
                    <a:pt x="7" y="9"/>
                    <a:pt x="13" y="5"/>
                    <a:pt x="16" y="0"/>
                  </a:cubicBezTo>
                  <a:lnTo>
                    <a:pt x="20" y="0"/>
                  </a:lnTo>
                  <a:close/>
                  <a:moveTo>
                    <a:pt x="1" y="30"/>
                  </a:moveTo>
                  <a:cubicBezTo>
                    <a:pt x="16" y="30"/>
                    <a:pt x="16" y="30"/>
                    <a:pt x="16" y="30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1" y="32"/>
                    <a:pt x="1" y="32"/>
                    <a:pt x="1" y="32"/>
                  </a:cubicBezTo>
                  <a:lnTo>
                    <a:pt x="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7" name="Freeform 23"/>
            <p:cNvSpPr>
              <a:spLocks noEditPoints="1"/>
            </p:cNvSpPr>
            <p:nvPr userDrawn="1"/>
          </p:nvSpPr>
          <p:spPr bwMode="auto">
            <a:xfrm>
              <a:off x="8181267" y="-267218"/>
              <a:ext cx="52962" cy="57636"/>
            </a:xfrm>
            <a:custGeom>
              <a:avLst/>
              <a:gdLst>
                <a:gd name="T0" fmla="*/ 0 w 32"/>
                <a:gd name="T1" fmla="*/ 6 h 34"/>
                <a:gd name="T2" fmla="*/ 3 w 32"/>
                <a:gd name="T3" fmla="*/ 6 h 34"/>
                <a:gd name="T4" fmla="*/ 5 w 32"/>
                <a:gd name="T5" fmla="*/ 0 h 34"/>
                <a:gd name="T6" fmla="*/ 8 w 32"/>
                <a:gd name="T7" fmla="*/ 1 h 34"/>
                <a:gd name="T8" fmla="*/ 6 w 32"/>
                <a:gd name="T9" fmla="*/ 6 h 34"/>
                <a:gd name="T10" fmla="*/ 13 w 32"/>
                <a:gd name="T11" fmla="*/ 6 h 34"/>
                <a:gd name="T12" fmla="*/ 13 w 32"/>
                <a:gd name="T13" fmla="*/ 34 h 34"/>
                <a:gd name="T14" fmla="*/ 10 w 32"/>
                <a:gd name="T15" fmla="*/ 34 h 34"/>
                <a:gd name="T16" fmla="*/ 10 w 32"/>
                <a:gd name="T17" fmla="*/ 31 h 34"/>
                <a:gd name="T18" fmla="*/ 2 w 32"/>
                <a:gd name="T19" fmla="*/ 31 h 34"/>
                <a:gd name="T20" fmla="*/ 2 w 32"/>
                <a:gd name="T21" fmla="*/ 34 h 34"/>
                <a:gd name="T22" fmla="*/ 0 w 32"/>
                <a:gd name="T23" fmla="*/ 34 h 34"/>
                <a:gd name="T24" fmla="*/ 0 w 32"/>
                <a:gd name="T25" fmla="*/ 6 h 34"/>
                <a:gd name="T26" fmla="*/ 10 w 32"/>
                <a:gd name="T27" fmla="*/ 9 h 34"/>
                <a:gd name="T28" fmla="*/ 2 w 32"/>
                <a:gd name="T29" fmla="*/ 9 h 34"/>
                <a:gd name="T30" fmla="*/ 2 w 32"/>
                <a:gd name="T31" fmla="*/ 17 h 34"/>
                <a:gd name="T32" fmla="*/ 10 w 32"/>
                <a:gd name="T33" fmla="*/ 17 h 34"/>
                <a:gd name="T34" fmla="*/ 10 w 32"/>
                <a:gd name="T35" fmla="*/ 9 h 34"/>
                <a:gd name="T36" fmla="*/ 2 w 32"/>
                <a:gd name="T37" fmla="*/ 28 h 34"/>
                <a:gd name="T38" fmla="*/ 10 w 32"/>
                <a:gd name="T39" fmla="*/ 28 h 34"/>
                <a:gd name="T40" fmla="*/ 10 w 32"/>
                <a:gd name="T41" fmla="*/ 20 h 34"/>
                <a:gd name="T42" fmla="*/ 2 w 32"/>
                <a:gd name="T43" fmla="*/ 20 h 34"/>
                <a:gd name="T44" fmla="*/ 2 w 32"/>
                <a:gd name="T45" fmla="*/ 28 h 34"/>
                <a:gd name="T46" fmla="*/ 14 w 32"/>
                <a:gd name="T47" fmla="*/ 13 h 34"/>
                <a:gd name="T48" fmla="*/ 19 w 32"/>
                <a:gd name="T49" fmla="*/ 0 h 34"/>
                <a:gd name="T50" fmla="*/ 22 w 32"/>
                <a:gd name="T51" fmla="*/ 1 h 34"/>
                <a:gd name="T52" fmla="*/ 20 w 32"/>
                <a:gd name="T53" fmla="*/ 6 h 34"/>
                <a:gd name="T54" fmla="*/ 32 w 32"/>
                <a:gd name="T55" fmla="*/ 6 h 34"/>
                <a:gd name="T56" fmla="*/ 31 w 32"/>
                <a:gd name="T57" fmla="*/ 29 h 34"/>
                <a:gd name="T58" fmla="*/ 25 w 32"/>
                <a:gd name="T59" fmla="*/ 34 h 34"/>
                <a:gd name="T60" fmla="*/ 19 w 32"/>
                <a:gd name="T61" fmla="*/ 34 h 34"/>
                <a:gd name="T62" fmla="*/ 18 w 32"/>
                <a:gd name="T63" fmla="*/ 31 h 34"/>
                <a:gd name="T64" fmla="*/ 18 w 32"/>
                <a:gd name="T65" fmla="*/ 31 h 34"/>
                <a:gd name="T66" fmla="*/ 25 w 32"/>
                <a:gd name="T67" fmla="*/ 31 h 34"/>
                <a:gd name="T68" fmla="*/ 28 w 32"/>
                <a:gd name="T69" fmla="*/ 28 h 34"/>
                <a:gd name="T70" fmla="*/ 29 w 32"/>
                <a:gd name="T71" fmla="*/ 8 h 34"/>
                <a:gd name="T72" fmla="*/ 19 w 32"/>
                <a:gd name="T73" fmla="*/ 8 h 34"/>
                <a:gd name="T74" fmla="*/ 16 w 32"/>
                <a:gd name="T75" fmla="*/ 14 h 34"/>
                <a:gd name="T76" fmla="*/ 14 w 32"/>
                <a:gd name="T77" fmla="*/ 13 h 34"/>
                <a:gd name="T78" fmla="*/ 17 w 32"/>
                <a:gd name="T79" fmla="*/ 15 h 34"/>
                <a:gd name="T80" fmla="*/ 19 w 32"/>
                <a:gd name="T81" fmla="*/ 14 h 34"/>
                <a:gd name="T82" fmla="*/ 25 w 32"/>
                <a:gd name="T83" fmla="*/ 22 h 34"/>
                <a:gd name="T84" fmla="*/ 23 w 32"/>
                <a:gd name="T85" fmla="*/ 24 h 34"/>
                <a:gd name="T86" fmla="*/ 17 w 32"/>
                <a:gd name="T87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" h="34">
                  <a:moveTo>
                    <a:pt x="0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4" y="4"/>
                    <a:pt x="5" y="2"/>
                    <a:pt x="5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3"/>
                    <a:pt x="7" y="4"/>
                    <a:pt x="6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0" y="34"/>
                    <a:pt x="0" y="34"/>
                    <a:pt x="0" y="34"/>
                  </a:cubicBezTo>
                  <a:lnTo>
                    <a:pt x="0" y="6"/>
                  </a:lnTo>
                  <a:close/>
                  <a:moveTo>
                    <a:pt x="10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0" y="17"/>
                    <a:pt x="10" y="17"/>
                    <a:pt x="10" y="17"/>
                  </a:cubicBezTo>
                  <a:lnTo>
                    <a:pt x="10" y="9"/>
                  </a:lnTo>
                  <a:close/>
                  <a:moveTo>
                    <a:pt x="2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2" y="20"/>
                    <a:pt x="2" y="20"/>
                    <a:pt x="2" y="20"/>
                  </a:cubicBezTo>
                  <a:lnTo>
                    <a:pt x="2" y="28"/>
                  </a:lnTo>
                  <a:close/>
                  <a:moveTo>
                    <a:pt x="14" y="13"/>
                  </a:moveTo>
                  <a:cubicBezTo>
                    <a:pt x="16" y="10"/>
                    <a:pt x="18" y="5"/>
                    <a:pt x="19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3"/>
                    <a:pt x="21" y="4"/>
                    <a:pt x="20" y="6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18"/>
                    <a:pt x="31" y="25"/>
                    <a:pt x="31" y="29"/>
                  </a:cubicBezTo>
                  <a:cubicBezTo>
                    <a:pt x="31" y="32"/>
                    <a:pt x="29" y="34"/>
                    <a:pt x="25" y="34"/>
                  </a:cubicBezTo>
                  <a:cubicBezTo>
                    <a:pt x="23" y="34"/>
                    <a:pt x="21" y="34"/>
                    <a:pt x="19" y="34"/>
                  </a:cubicBezTo>
                  <a:cubicBezTo>
                    <a:pt x="19" y="33"/>
                    <a:pt x="18" y="32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21" y="31"/>
                    <a:pt x="23" y="31"/>
                    <a:pt x="25" y="31"/>
                  </a:cubicBezTo>
                  <a:cubicBezTo>
                    <a:pt x="27" y="31"/>
                    <a:pt x="28" y="30"/>
                    <a:pt x="28" y="28"/>
                  </a:cubicBezTo>
                  <a:cubicBezTo>
                    <a:pt x="28" y="24"/>
                    <a:pt x="29" y="18"/>
                    <a:pt x="2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8" y="11"/>
                    <a:pt x="17" y="13"/>
                    <a:pt x="16" y="14"/>
                  </a:cubicBezTo>
                  <a:cubicBezTo>
                    <a:pt x="16" y="14"/>
                    <a:pt x="15" y="14"/>
                    <a:pt x="14" y="13"/>
                  </a:cubicBezTo>
                  <a:close/>
                  <a:moveTo>
                    <a:pt x="17" y="1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22" y="17"/>
                    <a:pt x="24" y="20"/>
                    <a:pt x="25" y="22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1" y="21"/>
                    <a:pt x="19" y="18"/>
                    <a:pt x="1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8" name="Freeform 24"/>
            <p:cNvSpPr>
              <a:spLocks noEditPoints="1"/>
            </p:cNvSpPr>
            <p:nvPr userDrawn="1"/>
          </p:nvSpPr>
          <p:spPr bwMode="auto">
            <a:xfrm>
              <a:off x="8292644" y="-265661"/>
              <a:ext cx="58415" cy="57636"/>
            </a:xfrm>
            <a:custGeom>
              <a:avLst/>
              <a:gdLst>
                <a:gd name="T0" fmla="*/ 10 w 35"/>
                <a:gd name="T1" fmla="*/ 0 h 34"/>
                <a:gd name="T2" fmla="*/ 10 w 35"/>
                <a:gd name="T3" fmla="*/ 1 h 34"/>
                <a:gd name="T4" fmla="*/ 16 w 35"/>
                <a:gd name="T5" fmla="*/ 9 h 34"/>
                <a:gd name="T6" fmla="*/ 14 w 35"/>
                <a:gd name="T7" fmla="*/ 11 h 34"/>
                <a:gd name="T8" fmla="*/ 9 w 35"/>
                <a:gd name="T9" fmla="*/ 3 h 34"/>
                <a:gd name="T10" fmla="*/ 2 w 35"/>
                <a:gd name="T11" fmla="*/ 15 h 34"/>
                <a:gd name="T12" fmla="*/ 0 w 35"/>
                <a:gd name="T13" fmla="*/ 12 h 34"/>
                <a:gd name="T14" fmla="*/ 8 w 35"/>
                <a:gd name="T15" fmla="*/ 0 h 34"/>
                <a:gd name="T16" fmla="*/ 10 w 35"/>
                <a:gd name="T17" fmla="*/ 0 h 34"/>
                <a:gd name="T18" fmla="*/ 3 w 35"/>
                <a:gd name="T19" fmla="*/ 24 h 34"/>
                <a:gd name="T20" fmla="*/ 5 w 35"/>
                <a:gd name="T21" fmla="*/ 22 h 34"/>
                <a:gd name="T22" fmla="*/ 8 w 35"/>
                <a:gd name="T23" fmla="*/ 26 h 34"/>
                <a:gd name="T24" fmla="*/ 12 w 35"/>
                <a:gd name="T25" fmla="*/ 18 h 34"/>
                <a:gd name="T26" fmla="*/ 2 w 35"/>
                <a:gd name="T27" fmla="*/ 18 h 34"/>
                <a:gd name="T28" fmla="*/ 2 w 35"/>
                <a:gd name="T29" fmla="*/ 16 h 34"/>
                <a:gd name="T30" fmla="*/ 15 w 35"/>
                <a:gd name="T31" fmla="*/ 16 h 34"/>
                <a:gd name="T32" fmla="*/ 15 w 35"/>
                <a:gd name="T33" fmla="*/ 18 h 34"/>
                <a:gd name="T34" fmla="*/ 10 w 35"/>
                <a:gd name="T35" fmla="*/ 28 h 34"/>
                <a:gd name="T36" fmla="*/ 13 w 35"/>
                <a:gd name="T37" fmla="*/ 32 h 34"/>
                <a:gd name="T38" fmla="*/ 10 w 35"/>
                <a:gd name="T39" fmla="*/ 33 h 34"/>
                <a:gd name="T40" fmla="*/ 3 w 35"/>
                <a:gd name="T41" fmla="*/ 24 h 34"/>
                <a:gd name="T42" fmla="*/ 7 w 35"/>
                <a:gd name="T43" fmla="*/ 9 h 34"/>
                <a:gd name="T44" fmla="*/ 9 w 35"/>
                <a:gd name="T45" fmla="*/ 8 h 34"/>
                <a:gd name="T46" fmla="*/ 12 w 35"/>
                <a:gd name="T47" fmla="*/ 13 h 34"/>
                <a:gd name="T48" fmla="*/ 9 w 35"/>
                <a:gd name="T49" fmla="*/ 15 h 34"/>
                <a:gd name="T50" fmla="*/ 7 w 35"/>
                <a:gd name="T51" fmla="*/ 9 h 34"/>
                <a:gd name="T52" fmla="*/ 24 w 35"/>
                <a:gd name="T53" fmla="*/ 12 h 34"/>
                <a:gd name="T54" fmla="*/ 27 w 35"/>
                <a:gd name="T55" fmla="*/ 12 h 34"/>
                <a:gd name="T56" fmla="*/ 27 w 35"/>
                <a:gd name="T57" fmla="*/ 17 h 34"/>
                <a:gd name="T58" fmla="*/ 26 w 35"/>
                <a:gd name="T59" fmla="*/ 24 h 34"/>
                <a:gd name="T60" fmla="*/ 35 w 35"/>
                <a:gd name="T61" fmla="*/ 32 h 34"/>
                <a:gd name="T62" fmla="*/ 33 w 35"/>
                <a:gd name="T63" fmla="*/ 34 h 34"/>
                <a:gd name="T64" fmla="*/ 25 w 35"/>
                <a:gd name="T65" fmla="*/ 26 h 34"/>
                <a:gd name="T66" fmla="*/ 24 w 35"/>
                <a:gd name="T67" fmla="*/ 27 h 34"/>
                <a:gd name="T68" fmla="*/ 16 w 35"/>
                <a:gd name="T69" fmla="*/ 34 h 34"/>
                <a:gd name="T70" fmla="*/ 14 w 35"/>
                <a:gd name="T71" fmla="*/ 32 h 34"/>
                <a:gd name="T72" fmla="*/ 22 w 35"/>
                <a:gd name="T73" fmla="*/ 26 h 34"/>
                <a:gd name="T74" fmla="*/ 24 w 35"/>
                <a:gd name="T75" fmla="*/ 17 h 34"/>
                <a:gd name="T76" fmla="*/ 24 w 35"/>
                <a:gd name="T77" fmla="*/ 12 h 34"/>
                <a:gd name="T78" fmla="*/ 17 w 35"/>
                <a:gd name="T79" fmla="*/ 8 h 34"/>
                <a:gd name="T80" fmla="*/ 23 w 35"/>
                <a:gd name="T81" fmla="*/ 8 h 34"/>
                <a:gd name="T82" fmla="*/ 24 w 35"/>
                <a:gd name="T83" fmla="*/ 3 h 34"/>
                <a:gd name="T84" fmla="*/ 15 w 35"/>
                <a:gd name="T85" fmla="*/ 3 h 34"/>
                <a:gd name="T86" fmla="*/ 15 w 35"/>
                <a:gd name="T87" fmla="*/ 1 h 34"/>
                <a:gd name="T88" fmla="*/ 35 w 35"/>
                <a:gd name="T89" fmla="*/ 1 h 34"/>
                <a:gd name="T90" fmla="*/ 35 w 35"/>
                <a:gd name="T91" fmla="*/ 3 h 34"/>
                <a:gd name="T92" fmla="*/ 27 w 35"/>
                <a:gd name="T93" fmla="*/ 3 h 34"/>
                <a:gd name="T94" fmla="*/ 26 w 35"/>
                <a:gd name="T95" fmla="*/ 8 h 34"/>
                <a:gd name="T96" fmla="*/ 34 w 35"/>
                <a:gd name="T97" fmla="*/ 8 h 34"/>
                <a:gd name="T98" fmla="*/ 34 w 35"/>
                <a:gd name="T99" fmla="*/ 25 h 34"/>
                <a:gd name="T100" fmla="*/ 31 w 35"/>
                <a:gd name="T101" fmla="*/ 25 h 34"/>
                <a:gd name="T102" fmla="*/ 31 w 35"/>
                <a:gd name="T103" fmla="*/ 11 h 34"/>
                <a:gd name="T104" fmla="*/ 19 w 35"/>
                <a:gd name="T105" fmla="*/ 11 h 34"/>
                <a:gd name="T106" fmla="*/ 19 w 35"/>
                <a:gd name="T107" fmla="*/ 25 h 34"/>
                <a:gd name="T108" fmla="*/ 17 w 35"/>
                <a:gd name="T109" fmla="*/ 25 h 34"/>
                <a:gd name="T110" fmla="*/ 17 w 35"/>
                <a:gd name="T111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" h="34">
                  <a:moveTo>
                    <a:pt x="10" y="0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2" y="3"/>
                    <a:pt x="14" y="6"/>
                    <a:pt x="16" y="9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2" y="8"/>
                    <a:pt x="11" y="5"/>
                    <a:pt x="9" y="3"/>
                  </a:cubicBezTo>
                  <a:cubicBezTo>
                    <a:pt x="7" y="7"/>
                    <a:pt x="5" y="11"/>
                    <a:pt x="2" y="15"/>
                  </a:cubicBezTo>
                  <a:cubicBezTo>
                    <a:pt x="2" y="14"/>
                    <a:pt x="1" y="13"/>
                    <a:pt x="0" y="12"/>
                  </a:cubicBezTo>
                  <a:cubicBezTo>
                    <a:pt x="3" y="9"/>
                    <a:pt x="6" y="5"/>
                    <a:pt x="8" y="0"/>
                  </a:cubicBezTo>
                  <a:lnTo>
                    <a:pt x="10" y="0"/>
                  </a:lnTo>
                  <a:close/>
                  <a:moveTo>
                    <a:pt x="3" y="24"/>
                  </a:moveTo>
                  <a:cubicBezTo>
                    <a:pt x="5" y="22"/>
                    <a:pt x="5" y="22"/>
                    <a:pt x="5" y="22"/>
                  </a:cubicBezTo>
                  <a:cubicBezTo>
                    <a:pt x="6" y="24"/>
                    <a:pt x="7" y="25"/>
                    <a:pt x="8" y="26"/>
                  </a:cubicBezTo>
                  <a:cubicBezTo>
                    <a:pt x="10" y="24"/>
                    <a:pt x="11" y="21"/>
                    <a:pt x="1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3" y="22"/>
                    <a:pt x="11" y="26"/>
                    <a:pt x="10" y="28"/>
                  </a:cubicBezTo>
                  <a:cubicBezTo>
                    <a:pt x="11" y="29"/>
                    <a:pt x="12" y="31"/>
                    <a:pt x="13" y="32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0"/>
                    <a:pt x="5" y="27"/>
                    <a:pt x="3" y="24"/>
                  </a:cubicBezTo>
                  <a:close/>
                  <a:moveTo>
                    <a:pt x="7" y="9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10" y="10"/>
                    <a:pt x="11" y="12"/>
                    <a:pt x="12" y="13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3"/>
                    <a:pt x="8" y="11"/>
                    <a:pt x="7" y="9"/>
                  </a:cubicBezTo>
                  <a:close/>
                  <a:moveTo>
                    <a:pt x="24" y="12"/>
                  </a:moveTo>
                  <a:cubicBezTo>
                    <a:pt x="27" y="12"/>
                    <a:pt x="27" y="12"/>
                    <a:pt x="27" y="12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0"/>
                    <a:pt x="26" y="22"/>
                    <a:pt x="26" y="24"/>
                  </a:cubicBezTo>
                  <a:cubicBezTo>
                    <a:pt x="29" y="26"/>
                    <a:pt x="32" y="29"/>
                    <a:pt x="35" y="32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1" y="31"/>
                    <a:pt x="28" y="29"/>
                    <a:pt x="25" y="26"/>
                  </a:cubicBezTo>
                  <a:cubicBezTo>
                    <a:pt x="25" y="27"/>
                    <a:pt x="24" y="27"/>
                    <a:pt x="24" y="27"/>
                  </a:cubicBezTo>
                  <a:cubicBezTo>
                    <a:pt x="23" y="30"/>
                    <a:pt x="20" y="32"/>
                    <a:pt x="16" y="34"/>
                  </a:cubicBezTo>
                  <a:cubicBezTo>
                    <a:pt x="15" y="33"/>
                    <a:pt x="14" y="32"/>
                    <a:pt x="14" y="32"/>
                  </a:cubicBezTo>
                  <a:cubicBezTo>
                    <a:pt x="18" y="30"/>
                    <a:pt x="20" y="28"/>
                    <a:pt x="22" y="26"/>
                  </a:cubicBezTo>
                  <a:cubicBezTo>
                    <a:pt x="23" y="24"/>
                    <a:pt x="24" y="21"/>
                    <a:pt x="24" y="17"/>
                  </a:cubicBezTo>
                  <a:lnTo>
                    <a:pt x="24" y="12"/>
                  </a:lnTo>
                  <a:close/>
                  <a:moveTo>
                    <a:pt x="17" y="8"/>
                  </a:moveTo>
                  <a:cubicBezTo>
                    <a:pt x="23" y="8"/>
                    <a:pt x="23" y="8"/>
                    <a:pt x="23" y="8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7" y="25"/>
                    <a:pt x="17" y="25"/>
                    <a:pt x="17" y="25"/>
                  </a:cubicBez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9" name="Freeform 25"/>
            <p:cNvSpPr>
              <a:spLocks noEditPoints="1"/>
            </p:cNvSpPr>
            <p:nvPr userDrawn="1"/>
          </p:nvSpPr>
          <p:spPr bwMode="auto">
            <a:xfrm>
              <a:off x="8409473" y="-264103"/>
              <a:ext cx="58415" cy="54520"/>
            </a:xfrm>
            <a:custGeom>
              <a:avLst/>
              <a:gdLst>
                <a:gd name="T0" fmla="*/ 0 w 35"/>
                <a:gd name="T1" fmla="*/ 20 h 32"/>
                <a:gd name="T2" fmla="*/ 24 w 35"/>
                <a:gd name="T3" fmla="*/ 20 h 32"/>
                <a:gd name="T4" fmla="*/ 24 w 35"/>
                <a:gd name="T5" fmla="*/ 17 h 32"/>
                <a:gd name="T6" fmla="*/ 27 w 35"/>
                <a:gd name="T7" fmla="*/ 17 h 32"/>
                <a:gd name="T8" fmla="*/ 27 w 35"/>
                <a:gd name="T9" fmla="*/ 20 h 32"/>
                <a:gd name="T10" fmla="*/ 35 w 35"/>
                <a:gd name="T11" fmla="*/ 20 h 32"/>
                <a:gd name="T12" fmla="*/ 35 w 35"/>
                <a:gd name="T13" fmla="*/ 22 h 32"/>
                <a:gd name="T14" fmla="*/ 27 w 35"/>
                <a:gd name="T15" fmla="*/ 22 h 32"/>
                <a:gd name="T16" fmla="*/ 27 w 35"/>
                <a:gd name="T17" fmla="*/ 28 h 32"/>
                <a:gd name="T18" fmla="*/ 23 w 35"/>
                <a:gd name="T19" fmla="*/ 32 h 32"/>
                <a:gd name="T20" fmla="*/ 17 w 35"/>
                <a:gd name="T21" fmla="*/ 32 h 32"/>
                <a:gd name="T22" fmla="*/ 17 w 35"/>
                <a:gd name="T23" fmla="*/ 29 h 32"/>
                <a:gd name="T24" fmla="*/ 22 w 35"/>
                <a:gd name="T25" fmla="*/ 29 h 32"/>
                <a:gd name="T26" fmla="*/ 24 w 35"/>
                <a:gd name="T27" fmla="*/ 27 h 32"/>
                <a:gd name="T28" fmla="*/ 24 w 35"/>
                <a:gd name="T29" fmla="*/ 22 h 32"/>
                <a:gd name="T30" fmla="*/ 0 w 35"/>
                <a:gd name="T31" fmla="*/ 22 h 32"/>
                <a:gd name="T32" fmla="*/ 0 w 35"/>
                <a:gd name="T33" fmla="*/ 20 h 32"/>
                <a:gd name="T34" fmla="*/ 9 w 35"/>
                <a:gd name="T35" fmla="*/ 14 h 32"/>
                <a:gd name="T36" fmla="*/ 28 w 35"/>
                <a:gd name="T37" fmla="*/ 14 h 32"/>
                <a:gd name="T38" fmla="*/ 31 w 35"/>
                <a:gd name="T39" fmla="*/ 12 h 32"/>
                <a:gd name="T40" fmla="*/ 32 w 35"/>
                <a:gd name="T41" fmla="*/ 8 h 32"/>
                <a:gd name="T42" fmla="*/ 34 w 35"/>
                <a:gd name="T43" fmla="*/ 9 h 32"/>
                <a:gd name="T44" fmla="*/ 33 w 35"/>
                <a:gd name="T45" fmla="*/ 13 h 32"/>
                <a:gd name="T46" fmla="*/ 28 w 35"/>
                <a:gd name="T47" fmla="*/ 16 h 32"/>
                <a:gd name="T48" fmla="*/ 9 w 35"/>
                <a:gd name="T49" fmla="*/ 16 h 32"/>
                <a:gd name="T50" fmla="*/ 4 w 35"/>
                <a:gd name="T51" fmla="*/ 12 h 32"/>
                <a:gd name="T52" fmla="*/ 4 w 35"/>
                <a:gd name="T53" fmla="*/ 0 h 32"/>
                <a:gd name="T54" fmla="*/ 29 w 35"/>
                <a:gd name="T55" fmla="*/ 0 h 32"/>
                <a:gd name="T56" fmla="*/ 29 w 35"/>
                <a:gd name="T57" fmla="*/ 10 h 32"/>
                <a:gd name="T58" fmla="*/ 26 w 35"/>
                <a:gd name="T59" fmla="*/ 10 h 32"/>
                <a:gd name="T60" fmla="*/ 26 w 35"/>
                <a:gd name="T61" fmla="*/ 9 h 32"/>
                <a:gd name="T62" fmla="*/ 7 w 35"/>
                <a:gd name="T63" fmla="*/ 9 h 32"/>
                <a:gd name="T64" fmla="*/ 7 w 35"/>
                <a:gd name="T65" fmla="*/ 11 h 32"/>
                <a:gd name="T66" fmla="*/ 9 w 35"/>
                <a:gd name="T67" fmla="*/ 14 h 32"/>
                <a:gd name="T68" fmla="*/ 6 w 35"/>
                <a:gd name="T69" fmla="*/ 24 h 32"/>
                <a:gd name="T70" fmla="*/ 8 w 35"/>
                <a:gd name="T71" fmla="*/ 22 h 32"/>
                <a:gd name="T72" fmla="*/ 14 w 35"/>
                <a:gd name="T73" fmla="*/ 27 h 32"/>
                <a:gd name="T74" fmla="*/ 12 w 35"/>
                <a:gd name="T75" fmla="*/ 29 h 32"/>
                <a:gd name="T76" fmla="*/ 6 w 35"/>
                <a:gd name="T77" fmla="*/ 24 h 32"/>
                <a:gd name="T78" fmla="*/ 7 w 35"/>
                <a:gd name="T79" fmla="*/ 2 h 32"/>
                <a:gd name="T80" fmla="*/ 7 w 35"/>
                <a:gd name="T81" fmla="*/ 7 h 32"/>
                <a:gd name="T82" fmla="*/ 26 w 35"/>
                <a:gd name="T83" fmla="*/ 7 h 32"/>
                <a:gd name="T84" fmla="*/ 26 w 35"/>
                <a:gd name="T85" fmla="*/ 2 h 32"/>
                <a:gd name="T86" fmla="*/ 7 w 35"/>
                <a:gd name="T8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" h="32">
                  <a:moveTo>
                    <a:pt x="0" y="20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31"/>
                    <a:pt x="26" y="32"/>
                    <a:pt x="23" y="32"/>
                  </a:cubicBezTo>
                  <a:cubicBezTo>
                    <a:pt x="22" y="32"/>
                    <a:pt x="20" y="32"/>
                    <a:pt x="17" y="32"/>
                  </a:cubicBezTo>
                  <a:cubicBezTo>
                    <a:pt x="17" y="31"/>
                    <a:pt x="17" y="30"/>
                    <a:pt x="17" y="29"/>
                  </a:cubicBezTo>
                  <a:cubicBezTo>
                    <a:pt x="19" y="29"/>
                    <a:pt x="20" y="29"/>
                    <a:pt x="22" y="29"/>
                  </a:cubicBezTo>
                  <a:cubicBezTo>
                    <a:pt x="24" y="29"/>
                    <a:pt x="24" y="29"/>
                    <a:pt x="24" y="27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20"/>
                  </a:lnTo>
                  <a:close/>
                  <a:moveTo>
                    <a:pt x="9" y="14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9" y="14"/>
                    <a:pt x="31" y="13"/>
                    <a:pt x="31" y="12"/>
                  </a:cubicBezTo>
                  <a:cubicBezTo>
                    <a:pt x="31" y="11"/>
                    <a:pt x="31" y="10"/>
                    <a:pt x="32" y="8"/>
                  </a:cubicBezTo>
                  <a:cubicBezTo>
                    <a:pt x="32" y="8"/>
                    <a:pt x="33" y="9"/>
                    <a:pt x="34" y="9"/>
                  </a:cubicBezTo>
                  <a:cubicBezTo>
                    <a:pt x="34" y="11"/>
                    <a:pt x="34" y="12"/>
                    <a:pt x="33" y="13"/>
                  </a:cubicBezTo>
                  <a:cubicBezTo>
                    <a:pt x="33" y="15"/>
                    <a:pt x="31" y="16"/>
                    <a:pt x="28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5" y="16"/>
                    <a:pt x="4" y="15"/>
                    <a:pt x="4" y="1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7" y="14"/>
                    <a:pt x="9" y="14"/>
                  </a:cubicBezTo>
                  <a:close/>
                  <a:moveTo>
                    <a:pt x="6" y="24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11" y="24"/>
                    <a:pt x="13" y="26"/>
                    <a:pt x="14" y="27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0" y="27"/>
                    <a:pt x="8" y="25"/>
                    <a:pt x="6" y="24"/>
                  </a:cubicBezTo>
                  <a:close/>
                  <a:moveTo>
                    <a:pt x="7" y="2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2"/>
                    <a:pt x="26" y="2"/>
                    <a:pt x="26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40" name="Freeform 26"/>
            <p:cNvSpPr>
              <a:spLocks noEditPoints="1"/>
            </p:cNvSpPr>
            <p:nvPr userDrawn="1"/>
          </p:nvSpPr>
          <p:spPr bwMode="auto">
            <a:xfrm>
              <a:off x="8523964" y="-267218"/>
              <a:ext cx="58415" cy="59193"/>
            </a:xfrm>
            <a:custGeom>
              <a:avLst/>
              <a:gdLst>
                <a:gd name="T0" fmla="*/ 1 w 35"/>
                <a:gd name="T1" fmla="*/ 11 h 35"/>
                <a:gd name="T2" fmla="*/ 14 w 35"/>
                <a:gd name="T3" fmla="*/ 11 h 35"/>
                <a:gd name="T4" fmla="*/ 14 w 35"/>
                <a:gd name="T5" fmla="*/ 7 h 35"/>
                <a:gd name="T6" fmla="*/ 4 w 35"/>
                <a:gd name="T7" fmla="*/ 7 h 35"/>
                <a:gd name="T8" fmla="*/ 4 w 35"/>
                <a:gd name="T9" fmla="*/ 5 h 35"/>
                <a:gd name="T10" fmla="*/ 14 w 35"/>
                <a:gd name="T11" fmla="*/ 5 h 35"/>
                <a:gd name="T12" fmla="*/ 14 w 35"/>
                <a:gd name="T13" fmla="*/ 0 h 35"/>
                <a:gd name="T14" fmla="*/ 17 w 35"/>
                <a:gd name="T15" fmla="*/ 0 h 35"/>
                <a:gd name="T16" fmla="*/ 17 w 35"/>
                <a:gd name="T17" fmla="*/ 5 h 35"/>
                <a:gd name="T18" fmla="*/ 26 w 35"/>
                <a:gd name="T19" fmla="*/ 5 h 35"/>
                <a:gd name="T20" fmla="*/ 26 w 35"/>
                <a:gd name="T21" fmla="*/ 7 h 35"/>
                <a:gd name="T22" fmla="*/ 17 w 35"/>
                <a:gd name="T23" fmla="*/ 7 h 35"/>
                <a:gd name="T24" fmla="*/ 17 w 35"/>
                <a:gd name="T25" fmla="*/ 11 h 35"/>
                <a:gd name="T26" fmla="*/ 20 w 35"/>
                <a:gd name="T27" fmla="*/ 11 h 35"/>
                <a:gd name="T28" fmla="*/ 30 w 35"/>
                <a:gd name="T29" fmla="*/ 2 h 35"/>
                <a:gd name="T30" fmla="*/ 32 w 35"/>
                <a:gd name="T31" fmla="*/ 4 h 35"/>
                <a:gd name="T32" fmla="*/ 25 w 35"/>
                <a:gd name="T33" fmla="*/ 11 h 35"/>
                <a:gd name="T34" fmla="*/ 35 w 35"/>
                <a:gd name="T35" fmla="*/ 11 h 35"/>
                <a:gd name="T36" fmla="*/ 35 w 35"/>
                <a:gd name="T37" fmla="*/ 14 h 35"/>
                <a:gd name="T38" fmla="*/ 22 w 35"/>
                <a:gd name="T39" fmla="*/ 14 h 35"/>
                <a:gd name="T40" fmla="*/ 15 w 35"/>
                <a:gd name="T41" fmla="*/ 18 h 35"/>
                <a:gd name="T42" fmla="*/ 29 w 35"/>
                <a:gd name="T43" fmla="*/ 18 h 35"/>
                <a:gd name="T44" fmla="*/ 29 w 35"/>
                <a:gd name="T45" fmla="*/ 35 h 35"/>
                <a:gd name="T46" fmla="*/ 26 w 35"/>
                <a:gd name="T47" fmla="*/ 35 h 35"/>
                <a:gd name="T48" fmla="*/ 26 w 35"/>
                <a:gd name="T49" fmla="*/ 33 h 35"/>
                <a:gd name="T50" fmla="*/ 10 w 35"/>
                <a:gd name="T51" fmla="*/ 33 h 35"/>
                <a:gd name="T52" fmla="*/ 10 w 35"/>
                <a:gd name="T53" fmla="*/ 35 h 35"/>
                <a:gd name="T54" fmla="*/ 7 w 35"/>
                <a:gd name="T55" fmla="*/ 35 h 35"/>
                <a:gd name="T56" fmla="*/ 7 w 35"/>
                <a:gd name="T57" fmla="*/ 22 h 35"/>
                <a:gd name="T58" fmla="*/ 1 w 35"/>
                <a:gd name="T59" fmla="*/ 24 h 35"/>
                <a:gd name="T60" fmla="*/ 0 w 35"/>
                <a:gd name="T61" fmla="*/ 21 h 35"/>
                <a:gd name="T62" fmla="*/ 17 w 35"/>
                <a:gd name="T63" fmla="*/ 14 h 35"/>
                <a:gd name="T64" fmla="*/ 1 w 35"/>
                <a:gd name="T65" fmla="*/ 14 h 35"/>
                <a:gd name="T66" fmla="*/ 1 w 35"/>
                <a:gd name="T67" fmla="*/ 11 h 35"/>
                <a:gd name="T68" fmla="*/ 10 w 35"/>
                <a:gd name="T69" fmla="*/ 20 h 35"/>
                <a:gd name="T70" fmla="*/ 10 w 35"/>
                <a:gd name="T71" fmla="*/ 24 h 35"/>
                <a:gd name="T72" fmla="*/ 26 w 35"/>
                <a:gd name="T73" fmla="*/ 24 h 35"/>
                <a:gd name="T74" fmla="*/ 26 w 35"/>
                <a:gd name="T75" fmla="*/ 20 h 35"/>
                <a:gd name="T76" fmla="*/ 11 w 35"/>
                <a:gd name="T77" fmla="*/ 20 h 35"/>
                <a:gd name="T78" fmla="*/ 10 w 35"/>
                <a:gd name="T79" fmla="*/ 20 h 35"/>
                <a:gd name="T80" fmla="*/ 10 w 35"/>
                <a:gd name="T81" fmla="*/ 30 h 35"/>
                <a:gd name="T82" fmla="*/ 26 w 35"/>
                <a:gd name="T83" fmla="*/ 30 h 35"/>
                <a:gd name="T84" fmla="*/ 26 w 35"/>
                <a:gd name="T85" fmla="*/ 26 h 35"/>
                <a:gd name="T86" fmla="*/ 10 w 35"/>
                <a:gd name="T87" fmla="*/ 26 h 35"/>
                <a:gd name="T88" fmla="*/ 10 w 35"/>
                <a:gd name="T89" fmla="*/ 3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5" h="35">
                  <a:moveTo>
                    <a:pt x="1" y="11"/>
                  </a:moveTo>
                  <a:cubicBezTo>
                    <a:pt x="14" y="11"/>
                    <a:pt x="14" y="11"/>
                    <a:pt x="14" y="11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4" y="9"/>
                    <a:pt x="27" y="6"/>
                    <a:pt x="30" y="2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0" y="7"/>
                    <a:pt x="28" y="9"/>
                    <a:pt x="2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0" y="15"/>
                    <a:pt x="18" y="16"/>
                    <a:pt x="15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2"/>
                    <a:pt x="4" y="23"/>
                    <a:pt x="1" y="24"/>
                  </a:cubicBezTo>
                  <a:cubicBezTo>
                    <a:pt x="1" y="23"/>
                    <a:pt x="1" y="22"/>
                    <a:pt x="0" y="21"/>
                  </a:cubicBezTo>
                  <a:cubicBezTo>
                    <a:pt x="6" y="19"/>
                    <a:pt x="12" y="17"/>
                    <a:pt x="17" y="14"/>
                  </a:cubicBezTo>
                  <a:cubicBezTo>
                    <a:pt x="1" y="14"/>
                    <a:pt x="1" y="14"/>
                    <a:pt x="1" y="14"/>
                  </a:cubicBezTo>
                  <a:lnTo>
                    <a:pt x="1" y="11"/>
                  </a:lnTo>
                  <a:close/>
                  <a:moveTo>
                    <a:pt x="10" y="20"/>
                  </a:moveTo>
                  <a:cubicBezTo>
                    <a:pt x="10" y="24"/>
                    <a:pt x="10" y="24"/>
                    <a:pt x="10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0" y="20"/>
                    <a:pt x="10" y="20"/>
                  </a:cubicBezTo>
                  <a:close/>
                  <a:moveTo>
                    <a:pt x="10" y="30"/>
                  </a:moveTo>
                  <a:cubicBezTo>
                    <a:pt x="26" y="30"/>
                    <a:pt x="26" y="30"/>
                    <a:pt x="26" y="30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10" y="26"/>
                    <a:pt x="10" y="26"/>
                    <a:pt x="10" y="26"/>
                  </a:cubicBezTo>
                  <a:lnTo>
                    <a:pt x="1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</p:grpSp>
      <p:sp>
        <p:nvSpPr>
          <p:cNvPr id="44" name="标题 7">
            <a:extLst>
              <a:ext uri="{FF2B5EF4-FFF2-40B4-BE49-F238E27FC236}">
                <a16:creationId xmlns:a16="http://schemas.microsoft.com/office/drawing/2014/main" id="{3288E2B5-EBB9-47CD-9C27-8297BA88A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547" y="132089"/>
            <a:ext cx="10515600" cy="432904"/>
          </a:xfrm>
          <a:prstGeom prst="rect">
            <a:avLst/>
          </a:prstGeom>
        </p:spPr>
        <p:txBody>
          <a:bodyPr/>
          <a:lstStyle>
            <a:lvl1pPr>
              <a:defRPr lang="zh-CN" altLang="en-US" sz="2667" b="1" kern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7095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357188" y="37398"/>
            <a:ext cx="11487150" cy="8350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zh-CN" altLang="en-US" sz="3600" b="1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E0D00-7EAD-4356-8467-C7812806DE79}" type="datetime6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t>2025年1月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C46C6-6BAF-4DA0-B4B1-BEDD0371AD0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0658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34">
            <a:extLst>
              <a:ext uri="{FF2B5EF4-FFF2-40B4-BE49-F238E27FC236}">
                <a16:creationId xmlns:a16="http://schemas.microsoft.com/office/drawing/2014/main" id="{ED1C66D3-B3C0-E04E-BCBF-06681F326A58}"/>
              </a:ext>
            </a:extLst>
          </p:cNvPr>
          <p:cNvSpPr>
            <a:spLocks/>
          </p:cNvSpPr>
          <p:nvPr userDrawn="1"/>
        </p:nvSpPr>
        <p:spPr bwMode="auto">
          <a:xfrm>
            <a:off x="226449" y="341831"/>
            <a:ext cx="77055" cy="77055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>
              <a:alpha val="5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zh-CN" altLang="en-US" sz="2667" b="1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3E75F69F-D0AB-044E-8453-E1F063D20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464" y="86787"/>
            <a:ext cx="9970901" cy="50284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2667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685EC10-3800-194B-A834-4B09AB82FE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1739" y="6510792"/>
            <a:ext cx="1028887" cy="271009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47817226-A4A8-4CA8-8499-073E4B5E2127}" type="datetimeFigureOut">
              <a:rPr lang="zh-CN" altLang="en-US" smtClean="0"/>
              <a:pPr/>
              <a:t>2025/1/20</a:t>
            </a:fld>
            <a:endParaRPr lang="zh-CN" altLang="en-US"/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483FD097-C1F0-6043-BDBF-9B0505DF9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9580" y="6502853"/>
            <a:ext cx="789305" cy="278947"/>
          </a:xfrm>
          <a:prstGeom prst="rect">
            <a:avLst/>
          </a:prstGeom>
        </p:spPr>
        <p:txBody>
          <a:bodyPr/>
          <a:lstStyle>
            <a:lvl1pPr algn="ct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CE3A6F2A-4BD1-4B71-A85C-4AC4B8E4C9A9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914235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5" y="38733"/>
            <a:ext cx="10108323" cy="943760"/>
          </a:xfrm>
        </p:spPr>
        <p:txBody>
          <a:bodyPr>
            <a:normAutofit/>
          </a:bodyPr>
          <a:lstStyle>
            <a:lvl1pPr>
              <a:defRPr sz="2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6489D9C7-5DC6-4263-87FF-7C99F6FB63C3}" type="datetime1">
              <a:rPr lang="zh-CN" altLang="en-US" smtClean="0">
                <a:solidFill>
                  <a:prstClr val="white">
                    <a:lumMod val="50000"/>
                  </a:prstClr>
                </a:solidFill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2025/1/20</a:t>
            </a:fld>
            <a:endParaRPr lang="zh-CN" alt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5DD3DB80-B894-403A-B48E-6FDC1A72010E}" type="slidenum">
              <a:rPr lang="zh-CN" altLang="en-US" smtClean="0">
                <a:solidFill>
                  <a:prstClr val="white">
                    <a:lumMod val="50000"/>
                  </a:prstClr>
                </a:solidFill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1489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58913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内容白底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C6AC8E01-2ADE-4A6D-9E41-6025D9088D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794A1FAE-D92C-E74B-B09C-977C2091DFC5}"/>
              </a:ext>
            </a:extLst>
          </p:cNvPr>
          <p:cNvSpPr/>
          <p:nvPr/>
        </p:nvSpPr>
        <p:spPr>
          <a:xfrm>
            <a:off x="390675" y="497330"/>
            <a:ext cx="94067" cy="571308"/>
          </a:xfrm>
          <a:prstGeom prst="rect">
            <a:avLst/>
          </a:prstGeom>
          <a:solidFill>
            <a:srgbClr val="03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标题 7">
            <a:extLst>
              <a:ext uri="{FF2B5EF4-FFF2-40B4-BE49-F238E27FC236}">
                <a16:creationId xmlns:a16="http://schemas.microsoft.com/office/drawing/2014/main" id="{6C7C1439-6108-2D4A-BAD1-E2F99BA70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792" y="497330"/>
            <a:ext cx="10515600" cy="692494"/>
          </a:xfrm>
          <a:prstGeom prst="rect">
            <a:avLst/>
          </a:prstGeom>
        </p:spPr>
        <p:txBody>
          <a:bodyPr/>
          <a:lstStyle>
            <a:lvl1pPr>
              <a:defRPr sz="3600">
                <a:latin typeface="+mn-ea"/>
                <a:ea typeface="+mn-ea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EFD9903E-0FE1-4A68-86A3-3F6BB77E248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6408" y="19455"/>
            <a:ext cx="1747553" cy="428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183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-2" y="302263"/>
            <a:ext cx="318036" cy="636071"/>
          </a:xfrm>
          <a:prstGeom prst="rect">
            <a:avLst/>
          </a:prstGeom>
          <a:solidFill>
            <a:srgbClr val="05A3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内容占位符 11"/>
          <p:cNvSpPr>
            <a:spLocks noGrp="1"/>
          </p:cNvSpPr>
          <p:nvPr>
            <p:ph sz="quarter" idx="10" hasCustomPrompt="1"/>
          </p:nvPr>
        </p:nvSpPr>
        <p:spPr>
          <a:xfrm>
            <a:off x="535276" y="410486"/>
            <a:ext cx="11314979" cy="461729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>
              <a:buNone/>
              <a:defRPr lang="zh-CN" altLang="en-US" sz="2665" b="1" smtClean="0">
                <a:solidFill>
                  <a:srgbClr val="00A84B"/>
                </a:solidFill>
                <a:latin typeface="+mn-ea"/>
                <a:ea typeface="+mn-ea"/>
              </a:defRPr>
            </a:lvl1pPr>
            <a:lvl2pPr>
              <a:defRPr lang="zh-CN" altLang="en-US" sz="1800" smtClean="0"/>
            </a:lvl2pPr>
            <a:lvl3pPr>
              <a:defRPr lang="zh-CN" altLang="en-US" sz="1800" smtClean="0"/>
            </a:lvl3pPr>
            <a:lvl4pPr>
              <a:defRPr lang="zh-CN" altLang="en-US" sz="1800" smtClean="0"/>
            </a:lvl4pPr>
            <a:lvl5pPr>
              <a:defRPr lang="zh-CN" altLang="en-US" sz="1800"/>
            </a:lvl5pPr>
          </a:lstStyle>
          <a:p>
            <a:pPr marL="0" lvl="0" defTabSz="60960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4991358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FE7D652D-1363-8344-A126-36D2267E11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36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/>
          </p:nvPr>
        </p:nvSpPr>
        <p:spPr>
          <a:xfrm>
            <a:off x="352425" y="1385047"/>
            <a:ext cx="11487150" cy="483795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11389197" y="6356349"/>
            <a:ext cx="477272" cy="365125"/>
          </a:xfrm>
        </p:spPr>
        <p:txBody>
          <a:bodyPr/>
          <a:lstStyle>
            <a:lvl1pPr algn="ctr">
              <a:defRPr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C95446B-784D-4FBD-A3D4-20A46119C204}" type="slidenum">
              <a:rPr lang="zh-CN" altLang="en-US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zh-CN" altLang="en-US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357188" y="324785"/>
            <a:ext cx="11487150" cy="835022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59806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357188" y="324785"/>
            <a:ext cx="11487150" cy="835022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37D04-45E0-416F-9EF5-28D233FA89E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5/1/20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C46C6-6BAF-4DA0-B4B1-BEDD0371AD0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547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83CBD57-4EA1-4B50-9AF5-90B21A6D2D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21A1632-1599-4E42-86CE-CABAD62D88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A5A63E3-9608-4684-BC4C-AB5D6F3EF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8C95446B-784D-4FBD-A3D4-20A46119C20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0220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469409" y="268540"/>
            <a:ext cx="11112355" cy="69398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3600" b="0" i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9053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内容占位符 12"/>
          <p:cNvSpPr>
            <a:spLocks noGrp="1"/>
          </p:cNvSpPr>
          <p:nvPr>
            <p:ph sz="quarter" idx="10"/>
          </p:nvPr>
        </p:nvSpPr>
        <p:spPr>
          <a:xfrm>
            <a:off x="469409" y="1206500"/>
            <a:ext cx="11112355" cy="4191000"/>
          </a:xfrm>
        </p:spPr>
        <p:txBody>
          <a:bodyPr vert="horz"/>
          <a:lstStyle>
            <a:lvl1pPr>
              <a:buClrTx/>
              <a:defRPr sz="24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1pPr>
            <a:lvl2pPr>
              <a:buClrTx/>
              <a:defRPr sz="22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2pPr>
            <a:lvl3pPr>
              <a:buClrTx/>
              <a:defRPr sz="20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3pPr>
            <a:lvl4pPr>
              <a:buClrTx/>
              <a:defRPr sz="18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4pPr>
            <a:lvl5pPr>
              <a:buClrTx/>
              <a:defRPr sz="16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5pPr>
          </a:lstStyle>
          <a:p>
            <a:pPr lvl="0"/>
            <a:r>
              <a:rPr kumimoji="1" lang="zh-CN" altLang="en-US"/>
              <a:t>编辑母版文本样式
第二级
第三级
第四级
第五级</a:t>
            </a:r>
            <a:endParaRPr kumimoji="1"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469409" y="268540"/>
            <a:ext cx="11112355" cy="69398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3600" b="0" i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92708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CD203-84D6-7744-B0E3-7D7782546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151D4B-BAC7-7749-A96C-76CF02EA6D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B9130B-CE31-9E43-8302-A8F9F7705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FE11D-7B77-784F-B648-D66B2578AA21}" type="datetimeFigureOut">
              <a:rPr lang="en-US" smtClean="0"/>
              <a:pPr/>
              <a:t>1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00AF6C-76CD-7B47-A727-D1E5D9CF4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8C8FDE-9F83-FC45-96DC-C85E0C113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F2D37-4B6A-B349-A06F-C13C21D1B4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787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EE7122-C4E9-4CBF-B10F-3B8C4EEB7106}" type="datetimeFigureOut">
              <a:rPr lang="zh-CN" altLang="en-US" smtClean="0"/>
              <a:t>2025/1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E2A4B-4182-4DB2-8B5C-829AA077C9C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357188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101138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8C95446B-784D-4FBD-A3D4-20A46119C20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idx="1"/>
          </p:nvPr>
        </p:nvSpPr>
        <p:spPr>
          <a:xfrm>
            <a:off x="357188" y="1398494"/>
            <a:ext cx="11487150" cy="47737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</p:txBody>
      </p:sp>
      <p:cxnSp>
        <p:nvCxnSpPr>
          <p:cNvPr id="8" name="直接连接符 7"/>
          <p:cNvCxnSpPr/>
          <p:nvPr/>
        </p:nvCxnSpPr>
        <p:spPr>
          <a:xfrm>
            <a:off x="352425" y="1119466"/>
            <a:ext cx="11514044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" name="标题占位符 2"/>
          <p:cNvSpPr>
            <a:spLocks noGrp="1"/>
          </p:cNvSpPr>
          <p:nvPr>
            <p:ph type="title"/>
          </p:nvPr>
        </p:nvSpPr>
        <p:spPr>
          <a:xfrm>
            <a:off x="352425" y="574766"/>
            <a:ext cx="10515600" cy="4917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zh-CN" altLang="en-US" dirty="0"/>
              <a:t>母版标题样式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E50A948A-C8F2-744E-A026-3DC462DFC79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3498" y="134145"/>
            <a:ext cx="1770435" cy="433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112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68605" indent="-268605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lang="zh-CN" altLang="en-US" sz="1600" b="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 Unicode MS" panose="020B0604020202020204" pitchFamily="34" charset="-122"/>
        </a:defRPr>
      </a:lvl1pPr>
      <a:lvl2pPr marL="538480" indent="-269875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 Unicode MS" panose="020B0604020202020204" pitchFamily="34" charset="-122"/>
        <a:buChar char="−"/>
        <a:defRPr lang="zh-CN" altLang="en-US" sz="1600" b="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 Unicode MS" panose="020B0604020202020204" pitchFamily="34" charset="-122"/>
        </a:defRPr>
      </a:lvl2pPr>
      <a:lvl3pPr marL="806450" indent="-268605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ü"/>
        <a:defRPr lang="zh-CN" altLang="en-US" sz="1600" b="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 Unicode MS" panose="020B0604020202020204" pitchFamily="34" charset="-122"/>
        </a:defRPr>
      </a:lvl3pPr>
      <a:lvl4pPr marL="9017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zh-CN" altLang="en-US" sz="1600" b="0" kern="1200">
          <a:solidFill>
            <a:schemeClr val="tx1"/>
          </a:solidFill>
          <a:latin typeface="Arial Unicode MS" panose="020B0604020202020204" pitchFamily="34" charset="-122"/>
          <a:ea typeface="Arial Unicode MS" panose="020B0604020202020204" pitchFamily="34" charset="-122"/>
          <a:cs typeface="Arial Unicode MS" panose="020B0604020202020204" pitchFamily="34" charset="-12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zh-CN" altLang="en-US" sz="1600" b="0" kern="1200">
          <a:solidFill>
            <a:schemeClr val="tx1"/>
          </a:solidFill>
          <a:latin typeface="Arial Unicode MS" panose="020B0604020202020204" pitchFamily="34" charset="-122"/>
          <a:ea typeface="Arial Unicode MS" panose="020B0604020202020204" pitchFamily="34" charset="-122"/>
          <a:cs typeface="Arial Unicode MS" panose="020B0604020202020204" pitchFamily="34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18C6F3-2B34-4B42-B4C2-6DD7CC0250F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07430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</p:sldLayoutIdLst>
  <p:hf hdr="0" ftr="0" dt="0"/>
  <p:txStyles>
    <p:titleStyle>
      <a:lvl1pPr algn="l" defTabSz="91448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22" indent="-228622" algn="l" defTabSz="914489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67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111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356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601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845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90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34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79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5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89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4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78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3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67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12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56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25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流程图: 可选过程 87"/>
          <p:cNvSpPr/>
          <p:nvPr/>
        </p:nvSpPr>
        <p:spPr>
          <a:xfrm>
            <a:off x="3193423" y="888118"/>
            <a:ext cx="1073174" cy="288000"/>
          </a:xfrm>
          <a:prstGeom prst="flowChartAlternate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需求评审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89" name="直接箭头连接符 88"/>
          <p:cNvCxnSpPr>
            <a:stCxn id="88" idx="2"/>
            <a:endCxn id="156" idx="0"/>
          </p:cNvCxnSpPr>
          <p:nvPr/>
        </p:nvCxnSpPr>
        <p:spPr>
          <a:xfrm flipH="1">
            <a:off x="3730009" y="1176118"/>
            <a:ext cx="1" cy="294255"/>
          </a:xfrm>
          <a:prstGeom prst="straightConnector1">
            <a:avLst/>
          </a:prstGeom>
          <a:ln w="3175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流程图: 过程 89"/>
          <p:cNvSpPr/>
          <p:nvPr/>
        </p:nvSpPr>
        <p:spPr>
          <a:xfrm>
            <a:off x="3193421" y="2040804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测分</a:t>
            </a:r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评审 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93" name="流程图: 决策 92"/>
          <p:cNvSpPr/>
          <p:nvPr/>
        </p:nvSpPr>
        <p:spPr>
          <a:xfrm>
            <a:off x="3028727" y="3139070"/>
            <a:ext cx="1402561" cy="288000"/>
          </a:xfrm>
          <a:prstGeom prst="flowChartDecision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测试</a:t>
            </a:r>
            <a:endParaRPr lang="en-US" altLang="zh-CN" sz="900" dirty="0" smtClean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准入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14" name="文本框 113"/>
          <p:cNvSpPr txBox="1"/>
          <p:nvPr/>
        </p:nvSpPr>
        <p:spPr>
          <a:xfrm>
            <a:off x="3730009" y="4518296"/>
            <a:ext cx="536588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900" dirty="0" smtClean="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通过</a:t>
            </a:r>
            <a:endParaRPr lang="zh-CN" altLang="en-US" sz="900" dirty="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25" name="流程图: 过程 124"/>
          <p:cNvSpPr/>
          <p:nvPr/>
        </p:nvSpPr>
        <p:spPr>
          <a:xfrm>
            <a:off x="3193421" y="2589876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提测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7" name="直接箭头连接符 6"/>
          <p:cNvCxnSpPr>
            <a:stCxn id="90" idx="2"/>
            <a:endCxn id="125" idx="0"/>
          </p:cNvCxnSpPr>
          <p:nvPr/>
        </p:nvCxnSpPr>
        <p:spPr>
          <a:xfrm>
            <a:off x="3730009" y="2328804"/>
            <a:ext cx="0" cy="2610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流程图: 过程 125"/>
          <p:cNvSpPr/>
          <p:nvPr/>
        </p:nvSpPr>
        <p:spPr>
          <a:xfrm>
            <a:off x="5015621" y="2590964"/>
            <a:ext cx="1076935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开发中</a:t>
            </a:r>
          </a:p>
        </p:txBody>
      </p:sp>
      <p:cxnSp>
        <p:nvCxnSpPr>
          <p:cNvPr id="9" name="直接箭头连接符 8"/>
          <p:cNvCxnSpPr>
            <a:stCxn id="125" idx="2"/>
            <a:endCxn id="93" idx="0"/>
          </p:cNvCxnSpPr>
          <p:nvPr/>
        </p:nvCxnSpPr>
        <p:spPr>
          <a:xfrm flipH="1">
            <a:off x="3730008" y="2877876"/>
            <a:ext cx="1" cy="26119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流程图: 过程 126"/>
          <p:cNvSpPr/>
          <p:nvPr/>
        </p:nvSpPr>
        <p:spPr>
          <a:xfrm>
            <a:off x="3193421" y="3662842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测试中</a:t>
            </a:r>
          </a:p>
        </p:txBody>
      </p:sp>
      <p:cxnSp>
        <p:nvCxnSpPr>
          <p:cNvPr id="13" name="直接箭头连接符 12"/>
          <p:cNvCxnSpPr>
            <a:stCxn id="93" idx="2"/>
            <a:endCxn id="127" idx="0"/>
          </p:cNvCxnSpPr>
          <p:nvPr/>
        </p:nvCxnSpPr>
        <p:spPr>
          <a:xfrm>
            <a:off x="3730008" y="3427070"/>
            <a:ext cx="1" cy="2357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流程图: 过程 128"/>
          <p:cNvSpPr/>
          <p:nvPr/>
        </p:nvSpPr>
        <p:spPr>
          <a:xfrm>
            <a:off x="3193422" y="4805208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发布版本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16" name="肘形连接符 15"/>
          <p:cNvCxnSpPr>
            <a:stCxn id="93" idx="3"/>
            <a:endCxn id="126" idx="2"/>
          </p:cNvCxnSpPr>
          <p:nvPr/>
        </p:nvCxnSpPr>
        <p:spPr>
          <a:xfrm flipV="1">
            <a:off x="4431288" y="2878964"/>
            <a:ext cx="1122801" cy="40410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>
            <a:stCxn id="126" idx="1"/>
            <a:endCxn id="125" idx="3"/>
          </p:cNvCxnSpPr>
          <p:nvPr/>
        </p:nvCxnSpPr>
        <p:spPr>
          <a:xfrm flipH="1" flipV="1">
            <a:off x="4266597" y="2733876"/>
            <a:ext cx="749024" cy="108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肘形连接符 19"/>
          <p:cNvCxnSpPr>
            <a:stCxn id="127" idx="3"/>
            <a:endCxn id="126" idx="2"/>
          </p:cNvCxnSpPr>
          <p:nvPr/>
        </p:nvCxnSpPr>
        <p:spPr>
          <a:xfrm flipV="1">
            <a:off x="4266597" y="2878964"/>
            <a:ext cx="1287492" cy="927878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箭头连接符 21"/>
          <p:cNvCxnSpPr>
            <a:stCxn id="127" idx="2"/>
            <a:endCxn id="131" idx="0"/>
          </p:cNvCxnSpPr>
          <p:nvPr/>
        </p:nvCxnSpPr>
        <p:spPr>
          <a:xfrm flipH="1">
            <a:off x="3730008" y="3950842"/>
            <a:ext cx="1" cy="2357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/>
          <p:cNvCxnSpPr>
            <a:stCxn id="131" idx="2"/>
            <a:endCxn id="129" idx="0"/>
          </p:cNvCxnSpPr>
          <p:nvPr/>
        </p:nvCxnSpPr>
        <p:spPr>
          <a:xfrm>
            <a:off x="3730008" y="4474614"/>
            <a:ext cx="2" cy="33059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流程图: 决策 130"/>
          <p:cNvSpPr/>
          <p:nvPr/>
        </p:nvSpPr>
        <p:spPr>
          <a:xfrm>
            <a:off x="3028727" y="4186614"/>
            <a:ext cx="1402561" cy="288000"/>
          </a:xfrm>
          <a:prstGeom prst="flowChartDecision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测试</a:t>
            </a:r>
            <a:endParaRPr lang="en-US" altLang="zh-CN" sz="900" dirty="0" smtClean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准出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32" name="文本框 131"/>
          <p:cNvSpPr txBox="1"/>
          <p:nvPr/>
        </p:nvSpPr>
        <p:spPr>
          <a:xfrm flipH="1">
            <a:off x="4540587" y="3614068"/>
            <a:ext cx="799186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缺陷修复</a:t>
            </a:r>
            <a:endParaRPr lang="zh-CN" altLang="en-US" sz="800" dirty="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33" name="文本框 132"/>
          <p:cNvSpPr txBox="1"/>
          <p:nvPr/>
        </p:nvSpPr>
        <p:spPr>
          <a:xfrm flipH="1">
            <a:off x="4524973" y="3083831"/>
            <a:ext cx="1002205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自测未通过</a:t>
            </a:r>
            <a:endParaRPr lang="en-US" altLang="zh-CN" sz="800" dirty="0" smtClean="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41" name="弧形 63">
            <a:extLst>
              <a:ext uri="{FF2B5EF4-FFF2-40B4-BE49-F238E27FC236}">
                <a16:creationId xmlns:a16="http://schemas.microsoft.com/office/drawing/2014/main" id="{266753F4-6A20-4731-B2EB-D8BBF49B96E2}"/>
              </a:ext>
            </a:extLst>
          </p:cNvPr>
          <p:cNvSpPr>
            <a:spLocks/>
          </p:cNvSpPr>
          <p:nvPr/>
        </p:nvSpPr>
        <p:spPr>
          <a:xfrm>
            <a:off x="7716306" y="1898357"/>
            <a:ext cx="3060000" cy="3059296"/>
          </a:xfrm>
          <a:prstGeom prst="arc">
            <a:avLst>
              <a:gd name="adj1" fmla="val 16279933"/>
              <a:gd name="adj2" fmla="val 15927654"/>
            </a:avLst>
          </a:prstGeom>
          <a:ln>
            <a:solidFill>
              <a:srgbClr val="00B0F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sym typeface="等线" panose="02010600030101010101" pitchFamily="2" charset="-122"/>
            </a:endParaRPr>
          </a:p>
        </p:txBody>
      </p:sp>
      <p:sp>
        <p:nvSpPr>
          <p:cNvPr id="143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8539863" y="1470373"/>
            <a:ext cx="1440000" cy="894174"/>
          </a:xfrm>
          <a:prstGeom prst="roundRect">
            <a:avLst/>
          </a:prstGeom>
          <a:solidFill>
            <a:schemeClr val="accent2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2 CR</a:t>
            </a:r>
            <a:r>
              <a:rPr kumimoji="1" lang="zh-CN" altLang="en-US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代码</a:t>
            </a:r>
            <a:endParaRPr kumimoji="1" lang="zh-CN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144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7147178" y="2634814"/>
            <a:ext cx="1440000" cy="894174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1 </a:t>
            </a:r>
            <a:r>
              <a:rPr kumimoji="1" lang="zh-CN" altLang="en-US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把控提测质量</a:t>
            </a:r>
            <a:endParaRPr kumimoji="1" lang="zh-CN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145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10056306" y="2651737"/>
            <a:ext cx="1440000" cy="894174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kumimoji="1" lang="en-US" altLang="zh-CN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3 </a:t>
            </a:r>
            <a:r>
              <a:rPr kumimoji="1" lang="zh-CN" altLang="en-US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发</a:t>
            </a:r>
            <a:r>
              <a:rPr kumimoji="1" lang="zh-CN" altLang="en-US" sz="1200" dirty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版管</a:t>
            </a:r>
            <a:r>
              <a:rPr kumimoji="1" lang="zh-CN" altLang="en-US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控</a:t>
            </a:r>
            <a:endParaRPr kumimoji="1" lang="zh-CN" altLang="en-US" sz="1200" dirty="0"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146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9500997" y="3950842"/>
            <a:ext cx="1440000" cy="89417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4 </a:t>
            </a:r>
            <a:r>
              <a:rPr kumimoji="1" lang="zh-CN" altLang="en-US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交付验证</a:t>
            </a:r>
            <a:endParaRPr kumimoji="1" lang="zh-CN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147" name="流程图: 文档 146"/>
          <p:cNvSpPr/>
          <p:nvPr/>
        </p:nvSpPr>
        <p:spPr>
          <a:xfrm>
            <a:off x="364585" y="3081901"/>
            <a:ext cx="1471427" cy="894174"/>
          </a:xfrm>
          <a:prstGeom prst="flowChartDocumen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针对流程规范问题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48" name="右箭头 147"/>
          <p:cNvSpPr/>
          <p:nvPr/>
        </p:nvSpPr>
        <p:spPr>
          <a:xfrm>
            <a:off x="2217638" y="3272911"/>
            <a:ext cx="742950" cy="37170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49" name="右箭头 148"/>
          <p:cNvSpPr/>
          <p:nvPr/>
        </p:nvSpPr>
        <p:spPr>
          <a:xfrm>
            <a:off x="6088797" y="3167642"/>
            <a:ext cx="742950" cy="37170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56" name="流程图: 过程 155"/>
          <p:cNvSpPr/>
          <p:nvPr/>
        </p:nvSpPr>
        <p:spPr>
          <a:xfrm>
            <a:off x="3193421" y="1470373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系分评审 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157" name="直接箭头连接符 156"/>
          <p:cNvCxnSpPr>
            <a:stCxn id="156" idx="2"/>
            <a:endCxn id="90" idx="0"/>
          </p:cNvCxnSpPr>
          <p:nvPr/>
        </p:nvCxnSpPr>
        <p:spPr>
          <a:xfrm>
            <a:off x="3730009" y="1758373"/>
            <a:ext cx="0" cy="282431"/>
          </a:xfrm>
          <a:prstGeom prst="straightConnector1">
            <a:avLst/>
          </a:prstGeom>
          <a:ln w="3175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流程图: 过程 166"/>
          <p:cNvSpPr/>
          <p:nvPr/>
        </p:nvSpPr>
        <p:spPr>
          <a:xfrm>
            <a:off x="3193419" y="5820578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监控 </a:t>
            </a:r>
            <a:r>
              <a:rPr lang="en-US" altLang="zh-CN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/ </a:t>
            </a:r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巡检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68" name="流程图: 过程 167"/>
          <p:cNvSpPr/>
          <p:nvPr/>
        </p:nvSpPr>
        <p:spPr>
          <a:xfrm>
            <a:off x="3193419" y="5312893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线上验证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195" name="直接箭头连接符 194"/>
          <p:cNvCxnSpPr>
            <a:stCxn id="129" idx="2"/>
            <a:endCxn id="168" idx="0"/>
          </p:cNvCxnSpPr>
          <p:nvPr/>
        </p:nvCxnSpPr>
        <p:spPr>
          <a:xfrm flipH="1">
            <a:off x="3730007" y="5093208"/>
            <a:ext cx="3" cy="21968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直接箭头连接符 196"/>
          <p:cNvCxnSpPr>
            <a:stCxn id="168" idx="2"/>
            <a:endCxn id="167" idx="0"/>
          </p:cNvCxnSpPr>
          <p:nvPr/>
        </p:nvCxnSpPr>
        <p:spPr>
          <a:xfrm>
            <a:off x="3730007" y="5600893"/>
            <a:ext cx="0" cy="21968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7551615" y="3950842"/>
            <a:ext cx="1440000" cy="894174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5 </a:t>
            </a:r>
            <a:r>
              <a:rPr kumimoji="1" lang="zh-CN" altLang="en-US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应急反馈</a:t>
            </a:r>
            <a:endParaRPr kumimoji="1" lang="zh-CN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207" name="标题 20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444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A1A10464-7016-4D36-A368-B120068E17FE}"/>
              </a:ext>
            </a:extLst>
          </p:cNvPr>
          <p:cNvSpPr txBox="1"/>
          <p:nvPr/>
        </p:nvSpPr>
        <p:spPr>
          <a:xfrm>
            <a:off x="5944431" y="1618191"/>
            <a:ext cx="5784149" cy="447814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285750" marR="0" lvl="0" indent="-28575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背景</a:t>
            </a:r>
            <a:endParaRPr kumimoji="0" lang="en-US" altLang="zh-CN" sz="16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 接口测试时，研发和测试人员无法对接口返回体做到解耦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L="285750" indent="-285750" defTabSz="914362" latinLnBrk="1" hangingPunct="0">
              <a:buFont typeface="Wingdings" panose="05000000000000000000" pitchFamily="2" charset="2"/>
              <a:buChar char="l"/>
              <a:defRPr/>
            </a:pP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痛点</a:t>
            </a:r>
            <a:endParaRPr lang="en-US" altLang="zh-CN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 接口测试时需要关注接口返回体格式；如果返回体格式有改动，则研发代码（返回体对象、判断逻辑）需要二次开发和适配，无法做到配置化修改（重复</a:t>
            </a:r>
            <a:r>
              <a:rPr lang="en-US" altLang="zh-CN" sz="1400" noProof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2/5/6</a:t>
            </a:r>
            <a:r>
              <a:rPr lang="zh-CN" altLang="en-US" sz="1400" noProof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动作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）</a:t>
            </a:r>
            <a:endParaRPr kumimoji="0" lang="en-US" altLang="zh-CN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L="285750" marR="0" lvl="0" indent="-285750" defTabSz="914362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解决</a:t>
            </a: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方案</a:t>
            </a:r>
            <a:endParaRPr lang="en-US" altLang="zh-CN" sz="16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defTabSz="914362" latinLnBrk="1" hangingPunct="0">
              <a:lnSpc>
                <a:spcPct val="150000"/>
              </a:lnSpc>
              <a:defRPr/>
            </a:pPr>
            <a:r>
              <a:rPr lang="en-US" altLang="zh-CN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开发数据处理工具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defTabSz="914362" latinLnBrk="1" hangingPunct="0">
              <a:lnSpc>
                <a:spcPct val="150000"/>
              </a:lnSpc>
              <a:defRPr/>
            </a:pP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 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解耦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接口返回体的强相关性，以配置形式实现接口返回体的比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对。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zh-CN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L="285750" indent="-285750" defTabSz="914362" latinLnBrk="1" hangingPunct="0">
              <a:buFont typeface="Wingdings" panose="05000000000000000000" pitchFamily="2" charset="2"/>
              <a:buChar char="l"/>
              <a:defRPr/>
            </a:pP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成果</a:t>
            </a:r>
            <a:endParaRPr lang="en-US" altLang="zh-CN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defTabSz="914362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接口测试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返回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体处理与研发解耦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defTabSz="914362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 测试接口对接或调整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，测试效率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从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近</a:t>
            </a:r>
            <a:r>
              <a:rPr lang="zh-CN" altLang="en-US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小时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级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到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分钟</a:t>
            </a:r>
            <a:r>
              <a:rPr lang="zh-CN" altLang="en-US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级</a:t>
            </a:r>
            <a:endParaRPr kumimoji="0" lang="en-US" altLang="zh-CN" sz="14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</p:txBody>
      </p:sp>
      <p:grpSp>
        <p:nvGrpSpPr>
          <p:cNvPr id="193" name="组合 192"/>
          <p:cNvGrpSpPr/>
          <p:nvPr/>
        </p:nvGrpSpPr>
        <p:grpSpPr>
          <a:xfrm>
            <a:off x="481084" y="1376855"/>
            <a:ext cx="5142551" cy="5046681"/>
            <a:chOff x="481084" y="1243505"/>
            <a:chExt cx="5142551" cy="5046681"/>
          </a:xfrm>
        </p:grpSpPr>
        <p:sp>
          <p:nvSpPr>
            <p:cNvPr id="4" name="椭圆 3">
              <a:extLst>
                <a:ext uri="{FF2B5EF4-FFF2-40B4-BE49-F238E27FC236}">
                  <a16:creationId xmlns:a16="http://schemas.microsoft.com/office/drawing/2014/main" id="{399F4539-BE1E-440D-9ED9-83EFE6462EC5}"/>
                </a:ext>
              </a:extLst>
            </p:cNvPr>
            <p:cNvSpPr/>
            <p:nvPr/>
          </p:nvSpPr>
          <p:spPr>
            <a:xfrm>
              <a:off x="2231973" y="5635795"/>
              <a:ext cx="656326" cy="654391"/>
            </a:xfrm>
            <a:prstGeom prst="ellipse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Microsoft YaHei Light"/>
                  <a:sym typeface="Microsoft YaHei Light"/>
                </a:rPr>
                <a:t>判断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icrosoft YaHei Light"/>
                <a:sym typeface="Microsoft YaHei Light"/>
              </a:endParaRPr>
            </a:p>
          </p:txBody>
        </p:sp>
        <p:sp>
          <p:nvSpPr>
            <p:cNvPr id="6" name="矩形: 圆角 5">
              <a:extLst>
                <a:ext uri="{FF2B5EF4-FFF2-40B4-BE49-F238E27FC236}">
                  <a16:creationId xmlns:a16="http://schemas.microsoft.com/office/drawing/2014/main" id="{1F6C6886-AFBD-4DB3-B30A-B0A808DD052B}"/>
                </a:ext>
              </a:extLst>
            </p:cNvPr>
            <p:cNvSpPr/>
            <p:nvPr/>
          </p:nvSpPr>
          <p:spPr>
            <a:xfrm>
              <a:off x="3636527" y="1443105"/>
              <a:ext cx="711324" cy="712384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处理接口返回值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</p:txBody>
        </p:sp>
        <p:sp>
          <p:nvSpPr>
            <p:cNvPr id="7" name="矩形: 圆角 6">
              <a:extLst>
                <a:ext uri="{FF2B5EF4-FFF2-40B4-BE49-F238E27FC236}">
                  <a16:creationId xmlns:a16="http://schemas.microsoft.com/office/drawing/2014/main" id="{BC7B2F69-B329-4226-93BB-9EBE1F31DD73}"/>
                </a:ext>
              </a:extLst>
            </p:cNvPr>
            <p:cNvSpPr/>
            <p:nvPr/>
          </p:nvSpPr>
          <p:spPr>
            <a:xfrm>
              <a:off x="552895" y="3361171"/>
              <a:ext cx="656733" cy="1108192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定义</a:t>
              </a:r>
              <a:endParaRPr kumimoji="1" lang="en-US" altLang="zh-CN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返回体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</p:txBody>
        </p:sp>
        <p:sp>
          <p:nvSpPr>
            <p:cNvPr id="10" name="矩形: 圆角 9">
              <a:extLst>
                <a:ext uri="{FF2B5EF4-FFF2-40B4-BE49-F238E27FC236}">
                  <a16:creationId xmlns:a16="http://schemas.microsoft.com/office/drawing/2014/main" id="{DF43D3D9-94B0-497E-8749-AD7D6522F8EA}"/>
                </a:ext>
              </a:extLst>
            </p:cNvPr>
            <p:cNvSpPr/>
            <p:nvPr/>
          </p:nvSpPr>
          <p:spPr>
            <a:xfrm>
              <a:off x="2218673" y="3361171"/>
              <a:ext cx="669626" cy="1094569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Microsoft YaHei Light"/>
                  <a:sym typeface="Microsoft YaHei Light"/>
                </a:rPr>
                <a:t>发布</a:t>
              </a:r>
              <a:endParaRPr kumimoji="1" lang="en-US" altLang="zh-CN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icrosoft YaHei Light"/>
                <a:sym typeface="Microsoft YaHei Ligh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Microsoft YaHei Light"/>
                  <a:sym typeface="Microsoft YaHei Light"/>
                </a:rPr>
                <a:t>接口</a:t>
              </a:r>
              <a:endParaRPr kumimoji="1" lang="en-US" altLang="zh-CN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icrosoft YaHei Light"/>
                <a:sym typeface="Microsoft YaHei Light"/>
              </a:endParaRPr>
            </a:p>
          </p:txBody>
        </p:sp>
        <p:sp>
          <p:nvSpPr>
            <p:cNvPr id="11" name="矩形: 圆角 10">
              <a:extLst>
                <a:ext uri="{FF2B5EF4-FFF2-40B4-BE49-F238E27FC236}">
                  <a16:creationId xmlns:a16="http://schemas.microsoft.com/office/drawing/2014/main" id="{9865C678-6BAF-44D4-83B2-552647876E30}"/>
                </a:ext>
              </a:extLst>
            </p:cNvPr>
            <p:cNvSpPr/>
            <p:nvPr/>
          </p:nvSpPr>
          <p:spPr>
            <a:xfrm>
              <a:off x="4952575" y="3352772"/>
              <a:ext cx="671060" cy="1114283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返回体</a:t>
              </a:r>
              <a:endParaRPr kumimoji="1" lang="en-US" altLang="zh-CN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对照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</p:txBody>
        </p:sp>
        <p:cxnSp>
          <p:nvCxnSpPr>
            <p:cNvPr id="13" name="直接箭头连接符 12">
              <a:extLst>
                <a:ext uri="{FF2B5EF4-FFF2-40B4-BE49-F238E27FC236}">
                  <a16:creationId xmlns:a16="http://schemas.microsoft.com/office/drawing/2014/main" id="{350BFB7B-4F54-4085-B54F-66BFDA2C0CCA}"/>
                </a:ext>
              </a:extLst>
            </p:cNvPr>
            <p:cNvCxnSpPr>
              <a:cxnSpLocks/>
              <a:endCxn id="7" idx="2"/>
            </p:cNvCxnSpPr>
            <p:nvPr/>
          </p:nvCxnSpPr>
          <p:spPr>
            <a:xfrm flipV="1">
              <a:off x="881261" y="4469363"/>
              <a:ext cx="1" cy="921796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4" name="直接箭头连接符 13">
              <a:extLst>
                <a:ext uri="{FF2B5EF4-FFF2-40B4-BE49-F238E27FC236}">
                  <a16:creationId xmlns:a16="http://schemas.microsoft.com/office/drawing/2014/main" id="{1FB58889-0977-4C3D-B7E2-8660EFC16ADD}"/>
                </a:ext>
              </a:extLst>
            </p:cNvPr>
            <p:cNvCxnSpPr>
              <a:cxnSpLocks/>
              <a:stCxn id="10" idx="3"/>
              <a:endCxn id="65" idx="1"/>
            </p:cNvCxnSpPr>
            <p:nvPr/>
          </p:nvCxnSpPr>
          <p:spPr>
            <a:xfrm>
              <a:off x="2888299" y="3908456"/>
              <a:ext cx="748228" cy="5657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1" name="直接箭头连接符 20">
              <a:extLst>
                <a:ext uri="{FF2B5EF4-FFF2-40B4-BE49-F238E27FC236}">
                  <a16:creationId xmlns:a16="http://schemas.microsoft.com/office/drawing/2014/main" id="{37F23F57-81C7-4595-89E8-DF6E3BE37554}"/>
                </a:ext>
              </a:extLst>
            </p:cNvPr>
            <p:cNvCxnSpPr>
              <a:cxnSpLocks/>
              <a:stCxn id="7" idx="3"/>
              <a:endCxn id="10" idx="1"/>
            </p:cNvCxnSpPr>
            <p:nvPr/>
          </p:nvCxnSpPr>
          <p:spPr>
            <a:xfrm flipV="1">
              <a:off x="1209628" y="3908456"/>
              <a:ext cx="1009045" cy="6811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1C8C78E3-5591-41B2-8472-7AD08054A0D9}"/>
                </a:ext>
              </a:extLst>
            </p:cNvPr>
            <p:cNvSpPr txBox="1"/>
            <p:nvPr/>
          </p:nvSpPr>
          <p:spPr>
            <a:xfrm>
              <a:off x="1209426" y="4831245"/>
              <a:ext cx="848356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新建</a:t>
              </a:r>
              <a:r>
                <a:rPr kumimoji="0" lang="en-US" altLang="zh-CN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or</a:t>
              </a: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修改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398C077D-91C8-4A3D-A3DF-788CB5D3BD1B}"/>
                </a:ext>
              </a:extLst>
            </p:cNvPr>
            <p:cNvSpPr txBox="1"/>
            <p:nvPr/>
          </p:nvSpPr>
          <p:spPr>
            <a:xfrm>
              <a:off x="3654488" y="5690075"/>
              <a:ext cx="1128787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接口测试结果判断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cxnSp>
          <p:nvCxnSpPr>
            <p:cNvPr id="30" name="直接箭头连接符 29">
              <a:extLst>
                <a:ext uri="{FF2B5EF4-FFF2-40B4-BE49-F238E27FC236}">
                  <a16:creationId xmlns:a16="http://schemas.microsoft.com/office/drawing/2014/main" id="{70DF9937-AF33-4D30-B06B-A6AA04EABD77}"/>
                </a:ext>
              </a:extLst>
            </p:cNvPr>
            <p:cNvCxnSpPr>
              <a:cxnSpLocks/>
              <a:stCxn id="10" idx="2"/>
              <a:endCxn id="4" idx="0"/>
            </p:cNvCxnSpPr>
            <p:nvPr/>
          </p:nvCxnSpPr>
          <p:spPr>
            <a:xfrm>
              <a:off x="2553486" y="4455740"/>
              <a:ext cx="6650" cy="1180055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179D8B11-F2CB-4F3A-96DC-A31FE1A0AF21}"/>
                </a:ext>
              </a:extLst>
            </p:cNvPr>
            <p:cNvSpPr txBox="1"/>
            <p:nvPr/>
          </p:nvSpPr>
          <p:spPr>
            <a:xfrm>
              <a:off x="2970254" y="5214465"/>
              <a:ext cx="1128787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标记测试结果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cxnSp>
          <p:nvCxnSpPr>
            <p:cNvPr id="48" name="连接符: 肘形 47">
              <a:extLst>
                <a:ext uri="{FF2B5EF4-FFF2-40B4-BE49-F238E27FC236}">
                  <a16:creationId xmlns:a16="http://schemas.microsoft.com/office/drawing/2014/main" id="{492C9160-F6CD-4CC7-A6A6-CD067B304DAA}"/>
                </a:ext>
              </a:extLst>
            </p:cNvPr>
            <p:cNvCxnSpPr>
              <a:cxnSpLocks/>
              <a:stCxn id="11" idx="2"/>
              <a:endCxn id="4" idx="6"/>
            </p:cNvCxnSpPr>
            <p:nvPr/>
          </p:nvCxnSpPr>
          <p:spPr>
            <a:xfrm rot="5400000">
              <a:off x="3340234" y="4015120"/>
              <a:ext cx="1495936" cy="2399806"/>
            </a:xfrm>
            <a:prstGeom prst="bentConnector2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77" name="椭圆 76">
              <a:extLst>
                <a:ext uri="{FF2B5EF4-FFF2-40B4-BE49-F238E27FC236}">
                  <a16:creationId xmlns:a16="http://schemas.microsoft.com/office/drawing/2014/main" id="{8BD7BBE3-4799-42FA-A3DC-8AB4378A4146}"/>
                </a:ext>
              </a:extLst>
            </p:cNvPr>
            <p:cNvSpPr/>
            <p:nvPr/>
          </p:nvSpPr>
          <p:spPr>
            <a:xfrm>
              <a:off x="2673118" y="2464670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4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8" name="椭圆 77">
              <a:extLst>
                <a:ext uri="{FF2B5EF4-FFF2-40B4-BE49-F238E27FC236}">
                  <a16:creationId xmlns:a16="http://schemas.microsoft.com/office/drawing/2014/main" id="{BBA2C86B-21B5-4F87-A2DC-1A8DA0C4BCFC}"/>
                </a:ext>
              </a:extLst>
            </p:cNvPr>
            <p:cNvSpPr/>
            <p:nvPr/>
          </p:nvSpPr>
          <p:spPr>
            <a:xfrm>
              <a:off x="952265" y="4788057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9" name="椭圆 78">
              <a:extLst>
                <a:ext uri="{FF2B5EF4-FFF2-40B4-BE49-F238E27FC236}">
                  <a16:creationId xmlns:a16="http://schemas.microsoft.com/office/drawing/2014/main" id="{C7197114-D67D-43E0-8957-0965540AFB30}"/>
                </a:ext>
              </a:extLst>
            </p:cNvPr>
            <p:cNvSpPr/>
            <p:nvPr/>
          </p:nvSpPr>
          <p:spPr>
            <a:xfrm>
              <a:off x="3403440" y="5645164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6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2" name="椭圆 81">
              <a:extLst>
                <a:ext uri="{FF2B5EF4-FFF2-40B4-BE49-F238E27FC236}">
                  <a16:creationId xmlns:a16="http://schemas.microsoft.com/office/drawing/2014/main" id="{4C1F39E4-4D38-42F7-8AD1-7870C91B69E4}"/>
                </a:ext>
              </a:extLst>
            </p:cNvPr>
            <p:cNvSpPr/>
            <p:nvPr/>
          </p:nvSpPr>
          <p:spPr>
            <a:xfrm>
              <a:off x="2699174" y="5185283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100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4" name="椭圆 83">
              <a:extLst>
                <a:ext uri="{FF2B5EF4-FFF2-40B4-BE49-F238E27FC236}">
                  <a16:creationId xmlns:a16="http://schemas.microsoft.com/office/drawing/2014/main" id="{DEE6E630-0C09-41C8-870E-4D463B0168F2}"/>
                </a:ext>
              </a:extLst>
            </p:cNvPr>
            <p:cNvSpPr/>
            <p:nvPr/>
          </p:nvSpPr>
          <p:spPr>
            <a:xfrm>
              <a:off x="1229849" y="3617372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3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5" name="文本框 84">
              <a:extLst>
                <a:ext uri="{FF2B5EF4-FFF2-40B4-BE49-F238E27FC236}">
                  <a16:creationId xmlns:a16="http://schemas.microsoft.com/office/drawing/2014/main" id="{AAC385D3-E5C1-42DC-9EEF-95845BFAA37A}"/>
                </a:ext>
              </a:extLst>
            </p:cNvPr>
            <p:cNvSpPr txBox="1"/>
            <p:nvPr/>
          </p:nvSpPr>
          <p:spPr>
            <a:xfrm>
              <a:off x="1479218" y="3655853"/>
              <a:ext cx="745605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接口上线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86" name="椭圆 85">
              <a:extLst>
                <a:ext uri="{FF2B5EF4-FFF2-40B4-BE49-F238E27FC236}">
                  <a16:creationId xmlns:a16="http://schemas.microsoft.com/office/drawing/2014/main" id="{3E49D264-BE3F-456B-90A5-580B66EEB967}"/>
                </a:ext>
              </a:extLst>
            </p:cNvPr>
            <p:cNvSpPr/>
            <p:nvPr/>
          </p:nvSpPr>
          <p:spPr>
            <a:xfrm>
              <a:off x="4406693" y="1488225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5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7" name="文本框 86">
              <a:extLst>
                <a:ext uri="{FF2B5EF4-FFF2-40B4-BE49-F238E27FC236}">
                  <a16:creationId xmlns:a16="http://schemas.microsoft.com/office/drawing/2014/main" id="{D2794F27-0E90-4FC5-97F3-76D25CDFCDF1}"/>
                </a:ext>
              </a:extLst>
            </p:cNvPr>
            <p:cNvSpPr txBox="1"/>
            <p:nvPr/>
          </p:nvSpPr>
          <p:spPr>
            <a:xfrm>
              <a:off x="4680190" y="1533198"/>
              <a:ext cx="760519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结构体处理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41" name="椭圆 40">
              <a:extLst>
                <a:ext uri="{FF2B5EF4-FFF2-40B4-BE49-F238E27FC236}">
                  <a16:creationId xmlns:a16="http://schemas.microsoft.com/office/drawing/2014/main" id="{F052EB00-373B-ED48-AF04-073C5DB9E53A}"/>
                </a:ext>
              </a:extLst>
            </p:cNvPr>
            <p:cNvSpPr/>
            <p:nvPr/>
          </p:nvSpPr>
          <p:spPr>
            <a:xfrm>
              <a:off x="912670" y="1864840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DF6E9A8E-6297-2A40-832A-9DBFB831492D}"/>
                </a:ext>
              </a:extLst>
            </p:cNvPr>
            <p:cNvSpPr txBox="1"/>
            <p:nvPr/>
          </p:nvSpPr>
          <p:spPr>
            <a:xfrm>
              <a:off x="1179968" y="1898440"/>
              <a:ext cx="1124232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读取、复制结构体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C0B79E16-1FCB-8A44-A462-DA56660209F8}"/>
                </a:ext>
              </a:extLst>
            </p:cNvPr>
            <p:cNvSpPr txBox="1"/>
            <p:nvPr/>
          </p:nvSpPr>
          <p:spPr>
            <a:xfrm>
              <a:off x="2924595" y="2503673"/>
              <a:ext cx="779301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接口调用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632E4A3B-E1F6-4048-BBC6-84FDD8AE88F8}"/>
                </a:ext>
              </a:extLst>
            </p:cNvPr>
            <p:cNvSpPr txBox="1"/>
            <p:nvPr/>
          </p:nvSpPr>
          <p:spPr>
            <a:xfrm>
              <a:off x="2166422" y="1243505"/>
              <a:ext cx="11287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等线"/>
                  <a:ea typeface="等线" panose="02010600030101010101" pitchFamily="2" charset="-122"/>
                  <a:cs typeface="+mn-cs"/>
                </a:rPr>
                <a:t>接口测试人员</a:t>
              </a:r>
              <a:endParaRPr kumimoji="1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cxnSp>
          <p:nvCxnSpPr>
            <p:cNvPr id="12" name="肘形连接符 11">
              <a:extLst>
                <a:ext uri="{FF2B5EF4-FFF2-40B4-BE49-F238E27FC236}">
                  <a16:creationId xmlns:a16="http://schemas.microsoft.com/office/drawing/2014/main" id="{25B1F70B-BFC5-8B4B-986C-A63C00447EB2}"/>
                </a:ext>
              </a:extLst>
            </p:cNvPr>
            <p:cNvCxnSpPr>
              <a:cxnSpLocks/>
              <a:stCxn id="7" idx="0"/>
            </p:cNvCxnSpPr>
            <p:nvPr/>
          </p:nvCxnSpPr>
          <p:spPr>
            <a:xfrm rot="5400000" flipH="1" flipV="1">
              <a:off x="776216" y="1920233"/>
              <a:ext cx="1545985" cy="1335892"/>
            </a:xfrm>
            <a:prstGeom prst="bentConnector3">
              <a:avLst>
                <a:gd name="adj1" fmla="val 100094"/>
              </a:avLst>
            </a:prstGeom>
            <a:ln w="28575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线箭头连接符 16">
              <a:extLst>
                <a:ext uri="{FF2B5EF4-FFF2-40B4-BE49-F238E27FC236}">
                  <a16:creationId xmlns:a16="http://schemas.microsoft.com/office/drawing/2014/main" id="{9BCF1928-2E79-C645-A680-009981D9928D}"/>
                </a:ext>
              </a:extLst>
            </p:cNvPr>
            <p:cNvCxnSpPr>
              <a:endCxn id="10" idx="0"/>
            </p:cNvCxnSpPr>
            <p:nvPr/>
          </p:nvCxnSpPr>
          <p:spPr>
            <a:xfrm>
              <a:off x="2552452" y="2232554"/>
              <a:ext cx="1034" cy="1128617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肘形连接符 18">
              <a:extLst>
                <a:ext uri="{FF2B5EF4-FFF2-40B4-BE49-F238E27FC236}">
                  <a16:creationId xmlns:a16="http://schemas.microsoft.com/office/drawing/2014/main" id="{1BD10C26-0D8B-B04E-954F-F4DE40E7DD23}"/>
                </a:ext>
              </a:extLst>
            </p:cNvPr>
            <p:cNvCxnSpPr>
              <a:cxnSpLocks/>
              <a:stCxn id="6" idx="3"/>
              <a:endCxn id="11" idx="0"/>
            </p:cNvCxnSpPr>
            <p:nvPr/>
          </p:nvCxnSpPr>
          <p:spPr>
            <a:xfrm>
              <a:off x="4347851" y="1799297"/>
              <a:ext cx="940254" cy="1553475"/>
            </a:xfrm>
            <a:prstGeom prst="bentConnector2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49" name="KSO_Shape">
              <a:extLst>
                <a:ext uri="{FF2B5EF4-FFF2-40B4-BE49-F238E27FC236}">
                  <a16:creationId xmlns:a16="http://schemas.microsoft.com/office/drawing/2014/main" id="{BCB47762-52C3-4622-B19B-E843DC010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910" y="1525944"/>
              <a:ext cx="432000" cy="432000"/>
            </a:xfrm>
            <a:custGeom>
              <a:avLst/>
              <a:gdLst/>
              <a:ahLst/>
              <a:cxnLst/>
              <a:rect l="0" t="0" r="r" b="b"/>
              <a:pathLst>
                <a:path w="4741862" h="3833813">
                  <a:moveTo>
                    <a:pt x="247650" y="2000250"/>
                  </a:moveTo>
                  <a:lnTo>
                    <a:pt x="1016000" y="2000250"/>
                  </a:lnTo>
                  <a:lnTo>
                    <a:pt x="1030288" y="2003425"/>
                  </a:lnTo>
                  <a:lnTo>
                    <a:pt x="1041400" y="2012950"/>
                  </a:lnTo>
                  <a:lnTo>
                    <a:pt x="1050925" y="2020888"/>
                  </a:lnTo>
                  <a:lnTo>
                    <a:pt x="1054100" y="2036763"/>
                  </a:lnTo>
                  <a:lnTo>
                    <a:pt x="1050925" y="2051051"/>
                  </a:lnTo>
                  <a:lnTo>
                    <a:pt x="1041400" y="2063751"/>
                  </a:lnTo>
                  <a:lnTo>
                    <a:pt x="1030288" y="2071688"/>
                  </a:lnTo>
                  <a:lnTo>
                    <a:pt x="1016000" y="2074863"/>
                  </a:lnTo>
                  <a:lnTo>
                    <a:pt x="247650" y="2074863"/>
                  </a:lnTo>
                  <a:lnTo>
                    <a:pt x="233362" y="2071688"/>
                  </a:lnTo>
                  <a:lnTo>
                    <a:pt x="220662" y="2063751"/>
                  </a:lnTo>
                  <a:lnTo>
                    <a:pt x="212725" y="2051051"/>
                  </a:lnTo>
                  <a:lnTo>
                    <a:pt x="209550" y="2036763"/>
                  </a:lnTo>
                  <a:lnTo>
                    <a:pt x="212725" y="2020888"/>
                  </a:lnTo>
                  <a:lnTo>
                    <a:pt x="220662" y="2012950"/>
                  </a:lnTo>
                  <a:lnTo>
                    <a:pt x="233362" y="2003425"/>
                  </a:lnTo>
                  <a:lnTo>
                    <a:pt x="247650" y="2000250"/>
                  </a:lnTo>
                  <a:close/>
                  <a:moveTo>
                    <a:pt x="244475" y="1901825"/>
                  </a:moveTo>
                  <a:lnTo>
                    <a:pt x="1012825" y="1901825"/>
                  </a:lnTo>
                  <a:lnTo>
                    <a:pt x="1027112" y="1905000"/>
                  </a:lnTo>
                  <a:lnTo>
                    <a:pt x="1039812" y="1914525"/>
                  </a:lnTo>
                  <a:lnTo>
                    <a:pt x="1044575" y="1925638"/>
                  </a:lnTo>
                  <a:lnTo>
                    <a:pt x="1047750" y="1941513"/>
                  </a:lnTo>
                  <a:lnTo>
                    <a:pt x="1044575" y="1952626"/>
                  </a:lnTo>
                  <a:lnTo>
                    <a:pt x="1039812" y="1965326"/>
                  </a:lnTo>
                  <a:lnTo>
                    <a:pt x="1027112" y="1973263"/>
                  </a:lnTo>
                  <a:lnTo>
                    <a:pt x="1012825" y="1976438"/>
                  </a:lnTo>
                  <a:lnTo>
                    <a:pt x="244475" y="1976438"/>
                  </a:lnTo>
                  <a:lnTo>
                    <a:pt x="230188" y="1973263"/>
                  </a:lnTo>
                  <a:lnTo>
                    <a:pt x="217488" y="1965326"/>
                  </a:lnTo>
                  <a:lnTo>
                    <a:pt x="209550" y="1952626"/>
                  </a:lnTo>
                  <a:lnTo>
                    <a:pt x="206375" y="1941513"/>
                  </a:lnTo>
                  <a:lnTo>
                    <a:pt x="209550" y="1925638"/>
                  </a:lnTo>
                  <a:lnTo>
                    <a:pt x="217488" y="1914525"/>
                  </a:lnTo>
                  <a:lnTo>
                    <a:pt x="230188" y="1905000"/>
                  </a:lnTo>
                  <a:lnTo>
                    <a:pt x="244475" y="1901825"/>
                  </a:lnTo>
                  <a:close/>
                  <a:moveTo>
                    <a:pt x="277813" y="1803400"/>
                  </a:moveTo>
                  <a:lnTo>
                    <a:pt x="1047750" y="1803400"/>
                  </a:lnTo>
                  <a:lnTo>
                    <a:pt x="1060450" y="1806575"/>
                  </a:lnTo>
                  <a:lnTo>
                    <a:pt x="1071563" y="1816100"/>
                  </a:lnTo>
                  <a:lnTo>
                    <a:pt x="1081088" y="1827213"/>
                  </a:lnTo>
                  <a:lnTo>
                    <a:pt x="1084263" y="1843088"/>
                  </a:lnTo>
                  <a:lnTo>
                    <a:pt x="1081088" y="1857376"/>
                  </a:lnTo>
                  <a:lnTo>
                    <a:pt x="1071563" y="1868488"/>
                  </a:lnTo>
                  <a:lnTo>
                    <a:pt x="1060450" y="1874838"/>
                  </a:lnTo>
                  <a:lnTo>
                    <a:pt x="1047750" y="1878013"/>
                  </a:lnTo>
                  <a:lnTo>
                    <a:pt x="277813" y="1878013"/>
                  </a:lnTo>
                  <a:lnTo>
                    <a:pt x="263525" y="1874838"/>
                  </a:lnTo>
                  <a:lnTo>
                    <a:pt x="250825" y="1868488"/>
                  </a:lnTo>
                  <a:lnTo>
                    <a:pt x="244475" y="1857376"/>
                  </a:lnTo>
                  <a:lnTo>
                    <a:pt x="241300" y="1843088"/>
                  </a:lnTo>
                  <a:lnTo>
                    <a:pt x="244475" y="1827213"/>
                  </a:lnTo>
                  <a:lnTo>
                    <a:pt x="250825" y="1816100"/>
                  </a:lnTo>
                  <a:lnTo>
                    <a:pt x="263525" y="1806575"/>
                  </a:lnTo>
                  <a:lnTo>
                    <a:pt x="277813" y="1803400"/>
                  </a:lnTo>
                  <a:close/>
                  <a:moveTo>
                    <a:pt x="238125" y="1708150"/>
                  </a:moveTo>
                  <a:lnTo>
                    <a:pt x="1009650" y="1708150"/>
                  </a:lnTo>
                  <a:lnTo>
                    <a:pt x="1020762" y="1711325"/>
                  </a:lnTo>
                  <a:lnTo>
                    <a:pt x="1033462" y="1717675"/>
                  </a:lnTo>
                  <a:lnTo>
                    <a:pt x="1041400" y="1728788"/>
                  </a:lnTo>
                  <a:lnTo>
                    <a:pt x="1044575" y="1744663"/>
                  </a:lnTo>
                  <a:lnTo>
                    <a:pt x="1041400" y="1758951"/>
                  </a:lnTo>
                  <a:lnTo>
                    <a:pt x="1033462" y="1770063"/>
                  </a:lnTo>
                  <a:lnTo>
                    <a:pt x="1020762" y="1779588"/>
                  </a:lnTo>
                  <a:lnTo>
                    <a:pt x="1009650" y="1782763"/>
                  </a:lnTo>
                  <a:lnTo>
                    <a:pt x="238125" y="1782763"/>
                  </a:lnTo>
                  <a:lnTo>
                    <a:pt x="223838" y="1779588"/>
                  </a:lnTo>
                  <a:lnTo>
                    <a:pt x="212725" y="1770063"/>
                  </a:lnTo>
                  <a:lnTo>
                    <a:pt x="206375" y="1758951"/>
                  </a:lnTo>
                  <a:lnTo>
                    <a:pt x="203200" y="1744663"/>
                  </a:lnTo>
                  <a:lnTo>
                    <a:pt x="206375" y="1728788"/>
                  </a:lnTo>
                  <a:lnTo>
                    <a:pt x="212725" y="1717675"/>
                  </a:lnTo>
                  <a:lnTo>
                    <a:pt x="223838" y="1711325"/>
                  </a:lnTo>
                  <a:lnTo>
                    <a:pt x="238125" y="1708150"/>
                  </a:lnTo>
                  <a:close/>
                  <a:moveTo>
                    <a:pt x="301626" y="1609725"/>
                  </a:moveTo>
                  <a:lnTo>
                    <a:pt x="1068388" y="1609725"/>
                  </a:lnTo>
                  <a:lnTo>
                    <a:pt x="1084264" y="1612900"/>
                  </a:lnTo>
                  <a:lnTo>
                    <a:pt x="1095376" y="1620838"/>
                  </a:lnTo>
                  <a:lnTo>
                    <a:pt x="1104901" y="1633538"/>
                  </a:lnTo>
                  <a:lnTo>
                    <a:pt x="1108076" y="1644650"/>
                  </a:lnTo>
                  <a:lnTo>
                    <a:pt x="1104901" y="1660526"/>
                  </a:lnTo>
                  <a:lnTo>
                    <a:pt x="1095376" y="1671638"/>
                  </a:lnTo>
                  <a:lnTo>
                    <a:pt x="1084264" y="1681163"/>
                  </a:lnTo>
                  <a:lnTo>
                    <a:pt x="1068388" y="1684338"/>
                  </a:lnTo>
                  <a:lnTo>
                    <a:pt x="301626" y="1684338"/>
                  </a:lnTo>
                  <a:lnTo>
                    <a:pt x="287338" y="1681163"/>
                  </a:lnTo>
                  <a:lnTo>
                    <a:pt x="274638" y="1671638"/>
                  </a:lnTo>
                  <a:lnTo>
                    <a:pt x="268288" y="1660526"/>
                  </a:lnTo>
                  <a:lnTo>
                    <a:pt x="265113" y="1644650"/>
                  </a:lnTo>
                  <a:lnTo>
                    <a:pt x="268288" y="1633538"/>
                  </a:lnTo>
                  <a:lnTo>
                    <a:pt x="274638" y="1620838"/>
                  </a:lnTo>
                  <a:lnTo>
                    <a:pt x="287338" y="1612900"/>
                  </a:lnTo>
                  <a:lnTo>
                    <a:pt x="301626" y="1609725"/>
                  </a:lnTo>
                  <a:close/>
                  <a:moveTo>
                    <a:pt x="254001" y="1511300"/>
                  </a:moveTo>
                  <a:lnTo>
                    <a:pt x="1020764" y="1511300"/>
                  </a:lnTo>
                  <a:lnTo>
                    <a:pt x="1036638" y="1514475"/>
                  </a:lnTo>
                  <a:lnTo>
                    <a:pt x="1047751" y="1522413"/>
                  </a:lnTo>
                  <a:lnTo>
                    <a:pt x="1057276" y="1535113"/>
                  </a:lnTo>
                  <a:lnTo>
                    <a:pt x="1060451" y="1549401"/>
                  </a:lnTo>
                  <a:lnTo>
                    <a:pt x="1057276" y="1562101"/>
                  </a:lnTo>
                  <a:lnTo>
                    <a:pt x="1047751" y="1573213"/>
                  </a:lnTo>
                  <a:lnTo>
                    <a:pt x="1036638" y="1582738"/>
                  </a:lnTo>
                  <a:lnTo>
                    <a:pt x="1020764" y="1585913"/>
                  </a:lnTo>
                  <a:lnTo>
                    <a:pt x="254001" y="1585913"/>
                  </a:lnTo>
                  <a:lnTo>
                    <a:pt x="238126" y="1582738"/>
                  </a:lnTo>
                  <a:lnTo>
                    <a:pt x="227013" y="1573213"/>
                  </a:lnTo>
                  <a:lnTo>
                    <a:pt x="220663" y="1562101"/>
                  </a:lnTo>
                  <a:lnTo>
                    <a:pt x="217488" y="1549401"/>
                  </a:lnTo>
                  <a:lnTo>
                    <a:pt x="220663" y="1535113"/>
                  </a:lnTo>
                  <a:lnTo>
                    <a:pt x="227013" y="1522413"/>
                  </a:lnTo>
                  <a:lnTo>
                    <a:pt x="238126" y="1514475"/>
                  </a:lnTo>
                  <a:lnTo>
                    <a:pt x="254001" y="1511300"/>
                  </a:lnTo>
                  <a:close/>
                  <a:moveTo>
                    <a:pt x="274638" y="1412875"/>
                  </a:moveTo>
                  <a:lnTo>
                    <a:pt x="1041400" y="1412875"/>
                  </a:lnTo>
                  <a:lnTo>
                    <a:pt x="1057276" y="1416050"/>
                  </a:lnTo>
                  <a:lnTo>
                    <a:pt x="1068388" y="1423988"/>
                  </a:lnTo>
                  <a:lnTo>
                    <a:pt x="1077913" y="1436688"/>
                  </a:lnTo>
                  <a:lnTo>
                    <a:pt x="1081088" y="1450976"/>
                  </a:lnTo>
                  <a:lnTo>
                    <a:pt x="1077913" y="1466851"/>
                  </a:lnTo>
                  <a:lnTo>
                    <a:pt x="1068388" y="1477963"/>
                  </a:lnTo>
                  <a:lnTo>
                    <a:pt x="1057276" y="1484313"/>
                  </a:lnTo>
                  <a:lnTo>
                    <a:pt x="1041400" y="1487488"/>
                  </a:lnTo>
                  <a:lnTo>
                    <a:pt x="274638" y="1487488"/>
                  </a:lnTo>
                  <a:lnTo>
                    <a:pt x="260350" y="1484313"/>
                  </a:lnTo>
                  <a:lnTo>
                    <a:pt x="247650" y="1477963"/>
                  </a:lnTo>
                  <a:lnTo>
                    <a:pt x="238126" y="1466851"/>
                  </a:lnTo>
                  <a:lnTo>
                    <a:pt x="236538" y="1450976"/>
                  </a:lnTo>
                  <a:lnTo>
                    <a:pt x="238126" y="1436688"/>
                  </a:lnTo>
                  <a:lnTo>
                    <a:pt x="247650" y="1423988"/>
                  </a:lnTo>
                  <a:lnTo>
                    <a:pt x="260350" y="1416050"/>
                  </a:lnTo>
                  <a:lnTo>
                    <a:pt x="274638" y="1412875"/>
                  </a:lnTo>
                  <a:close/>
                  <a:moveTo>
                    <a:pt x="3359150" y="0"/>
                  </a:moveTo>
                  <a:lnTo>
                    <a:pt x="3403600" y="3175"/>
                  </a:lnTo>
                  <a:lnTo>
                    <a:pt x="3449638" y="6350"/>
                  </a:lnTo>
                  <a:lnTo>
                    <a:pt x="3494088" y="17462"/>
                  </a:lnTo>
                  <a:lnTo>
                    <a:pt x="3535362" y="30162"/>
                  </a:lnTo>
                  <a:lnTo>
                    <a:pt x="3579814" y="50800"/>
                  </a:lnTo>
                  <a:lnTo>
                    <a:pt x="3619500" y="71437"/>
                  </a:lnTo>
                  <a:lnTo>
                    <a:pt x="3654426" y="98425"/>
                  </a:lnTo>
                  <a:lnTo>
                    <a:pt x="3687762" y="128587"/>
                  </a:lnTo>
                  <a:lnTo>
                    <a:pt x="3717926" y="158750"/>
                  </a:lnTo>
                  <a:lnTo>
                    <a:pt x="3744914" y="193675"/>
                  </a:lnTo>
                  <a:lnTo>
                    <a:pt x="3768726" y="230187"/>
                  </a:lnTo>
                  <a:lnTo>
                    <a:pt x="3789362" y="268287"/>
                  </a:lnTo>
                  <a:lnTo>
                    <a:pt x="3803650" y="311150"/>
                  </a:lnTo>
                  <a:lnTo>
                    <a:pt x="3816350" y="352425"/>
                  </a:lnTo>
                  <a:lnTo>
                    <a:pt x="3822700" y="393700"/>
                  </a:lnTo>
                  <a:lnTo>
                    <a:pt x="3827462" y="439737"/>
                  </a:lnTo>
                  <a:lnTo>
                    <a:pt x="3825876" y="484187"/>
                  </a:lnTo>
                  <a:lnTo>
                    <a:pt x="3822700" y="528637"/>
                  </a:lnTo>
                  <a:lnTo>
                    <a:pt x="3813176" y="573087"/>
                  </a:lnTo>
                  <a:lnTo>
                    <a:pt x="3798888" y="615950"/>
                  </a:lnTo>
                  <a:lnTo>
                    <a:pt x="3776662" y="660400"/>
                  </a:lnTo>
                  <a:lnTo>
                    <a:pt x="3756026" y="698500"/>
                  </a:lnTo>
                  <a:lnTo>
                    <a:pt x="3729038" y="735012"/>
                  </a:lnTo>
                  <a:lnTo>
                    <a:pt x="3702050" y="768350"/>
                  </a:lnTo>
                  <a:lnTo>
                    <a:pt x="3670300" y="796925"/>
                  </a:lnTo>
                  <a:lnTo>
                    <a:pt x="3633788" y="823912"/>
                  </a:lnTo>
                  <a:lnTo>
                    <a:pt x="3598862" y="847724"/>
                  </a:lnTo>
                  <a:lnTo>
                    <a:pt x="3606800" y="844549"/>
                  </a:lnTo>
                  <a:lnTo>
                    <a:pt x="3633788" y="842962"/>
                  </a:lnTo>
                  <a:lnTo>
                    <a:pt x="3675062" y="839787"/>
                  </a:lnTo>
                  <a:lnTo>
                    <a:pt x="3721100" y="839787"/>
                  </a:lnTo>
                  <a:lnTo>
                    <a:pt x="3765550" y="842962"/>
                  </a:lnTo>
                  <a:lnTo>
                    <a:pt x="3810000" y="850899"/>
                  </a:lnTo>
                  <a:lnTo>
                    <a:pt x="3857626" y="863599"/>
                  </a:lnTo>
                  <a:lnTo>
                    <a:pt x="3902076" y="881062"/>
                  </a:lnTo>
                  <a:lnTo>
                    <a:pt x="3948112" y="904874"/>
                  </a:lnTo>
                  <a:lnTo>
                    <a:pt x="3989388" y="935037"/>
                  </a:lnTo>
                  <a:lnTo>
                    <a:pt x="4019550" y="958849"/>
                  </a:lnTo>
                  <a:lnTo>
                    <a:pt x="4046538" y="982662"/>
                  </a:lnTo>
                  <a:lnTo>
                    <a:pt x="4070350" y="1009649"/>
                  </a:lnTo>
                  <a:lnTo>
                    <a:pt x="4094162" y="1039812"/>
                  </a:lnTo>
                  <a:lnTo>
                    <a:pt x="4117976" y="1068387"/>
                  </a:lnTo>
                  <a:lnTo>
                    <a:pt x="4138612" y="1101724"/>
                  </a:lnTo>
                  <a:lnTo>
                    <a:pt x="4179888" y="1169987"/>
                  </a:lnTo>
                  <a:lnTo>
                    <a:pt x="4216400" y="1243012"/>
                  </a:lnTo>
                  <a:lnTo>
                    <a:pt x="4249738" y="1319212"/>
                  </a:lnTo>
                  <a:lnTo>
                    <a:pt x="4278312" y="1400174"/>
                  </a:lnTo>
                  <a:lnTo>
                    <a:pt x="4305300" y="1484312"/>
                  </a:lnTo>
                  <a:lnTo>
                    <a:pt x="4329112" y="1568450"/>
                  </a:lnTo>
                  <a:lnTo>
                    <a:pt x="4352926" y="1654175"/>
                  </a:lnTo>
                  <a:lnTo>
                    <a:pt x="4395788" y="1824038"/>
                  </a:lnTo>
                  <a:lnTo>
                    <a:pt x="4433888" y="1989138"/>
                  </a:lnTo>
                  <a:lnTo>
                    <a:pt x="4451910" y="2059780"/>
                  </a:lnTo>
                  <a:lnTo>
                    <a:pt x="4606926" y="935037"/>
                  </a:lnTo>
                  <a:lnTo>
                    <a:pt x="4610100" y="919162"/>
                  </a:lnTo>
                  <a:lnTo>
                    <a:pt x="4616450" y="908049"/>
                  </a:lnTo>
                  <a:lnTo>
                    <a:pt x="4625976" y="898524"/>
                  </a:lnTo>
                  <a:lnTo>
                    <a:pt x="4633914" y="890587"/>
                  </a:lnTo>
                  <a:lnTo>
                    <a:pt x="4646614" y="881062"/>
                  </a:lnTo>
                  <a:lnTo>
                    <a:pt x="4657726" y="877887"/>
                  </a:lnTo>
                  <a:lnTo>
                    <a:pt x="4670426" y="874712"/>
                  </a:lnTo>
                  <a:lnTo>
                    <a:pt x="4684714" y="874712"/>
                  </a:lnTo>
                  <a:lnTo>
                    <a:pt x="4697414" y="877887"/>
                  </a:lnTo>
                  <a:lnTo>
                    <a:pt x="4708526" y="884237"/>
                  </a:lnTo>
                  <a:lnTo>
                    <a:pt x="4721226" y="892174"/>
                  </a:lnTo>
                  <a:lnTo>
                    <a:pt x="4729162" y="901699"/>
                  </a:lnTo>
                  <a:lnTo>
                    <a:pt x="4735514" y="914399"/>
                  </a:lnTo>
                  <a:lnTo>
                    <a:pt x="4738688" y="925512"/>
                  </a:lnTo>
                  <a:lnTo>
                    <a:pt x="4741862" y="938212"/>
                  </a:lnTo>
                  <a:lnTo>
                    <a:pt x="4741862" y="952499"/>
                  </a:lnTo>
                  <a:lnTo>
                    <a:pt x="4538662" y="2415850"/>
                  </a:lnTo>
                  <a:lnTo>
                    <a:pt x="4538662" y="3765551"/>
                  </a:lnTo>
                  <a:lnTo>
                    <a:pt x="4535488" y="3779838"/>
                  </a:lnTo>
                  <a:lnTo>
                    <a:pt x="4532314" y="3792538"/>
                  </a:lnTo>
                  <a:lnTo>
                    <a:pt x="4527550" y="3803651"/>
                  </a:lnTo>
                  <a:lnTo>
                    <a:pt x="4518026" y="3813176"/>
                  </a:lnTo>
                  <a:lnTo>
                    <a:pt x="4508500" y="3821113"/>
                  </a:lnTo>
                  <a:lnTo>
                    <a:pt x="4497388" y="3827463"/>
                  </a:lnTo>
                  <a:lnTo>
                    <a:pt x="4484688" y="3833813"/>
                  </a:lnTo>
                  <a:lnTo>
                    <a:pt x="4470400" y="3833813"/>
                  </a:lnTo>
                  <a:lnTo>
                    <a:pt x="4454526" y="3833813"/>
                  </a:lnTo>
                  <a:lnTo>
                    <a:pt x="4443414" y="3827463"/>
                  </a:lnTo>
                  <a:lnTo>
                    <a:pt x="4430714" y="3821113"/>
                  </a:lnTo>
                  <a:lnTo>
                    <a:pt x="4422776" y="3813176"/>
                  </a:lnTo>
                  <a:lnTo>
                    <a:pt x="4413250" y="3803651"/>
                  </a:lnTo>
                  <a:lnTo>
                    <a:pt x="4406900" y="3792538"/>
                  </a:lnTo>
                  <a:lnTo>
                    <a:pt x="4403726" y="3779838"/>
                  </a:lnTo>
                  <a:lnTo>
                    <a:pt x="4402138" y="3765551"/>
                  </a:lnTo>
                  <a:lnTo>
                    <a:pt x="4402138" y="2505075"/>
                  </a:lnTo>
                  <a:lnTo>
                    <a:pt x="4398962" y="2493962"/>
                  </a:lnTo>
                  <a:lnTo>
                    <a:pt x="4395788" y="2478087"/>
                  </a:lnTo>
                  <a:lnTo>
                    <a:pt x="4395788" y="2474913"/>
                  </a:lnTo>
                  <a:lnTo>
                    <a:pt x="4386264" y="2493963"/>
                  </a:lnTo>
                  <a:lnTo>
                    <a:pt x="4378326" y="2511425"/>
                  </a:lnTo>
                  <a:lnTo>
                    <a:pt x="4365626" y="2528888"/>
                  </a:lnTo>
                  <a:lnTo>
                    <a:pt x="4351338" y="2544763"/>
                  </a:lnTo>
                  <a:lnTo>
                    <a:pt x="4335464" y="2559050"/>
                  </a:lnTo>
                  <a:lnTo>
                    <a:pt x="4321176" y="2570163"/>
                  </a:lnTo>
                  <a:lnTo>
                    <a:pt x="4302126" y="2579688"/>
                  </a:lnTo>
                  <a:lnTo>
                    <a:pt x="4284664" y="2589213"/>
                  </a:lnTo>
                  <a:lnTo>
                    <a:pt x="4264026" y="2597150"/>
                  </a:lnTo>
                  <a:lnTo>
                    <a:pt x="4243388" y="2603500"/>
                  </a:lnTo>
                  <a:lnTo>
                    <a:pt x="4222750" y="2606675"/>
                  </a:lnTo>
                  <a:lnTo>
                    <a:pt x="3565526" y="2677005"/>
                  </a:lnTo>
                  <a:lnTo>
                    <a:pt x="3565526" y="3765551"/>
                  </a:lnTo>
                  <a:lnTo>
                    <a:pt x="3565526" y="3779838"/>
                  </a:lnTo>
                  <a:lnTo>
                    <a:pt x="3559176" y="3792538"/>
                  </a:lnTo>
                  <a:lnTo>
                    <a:pt x="3552826" y="3803651"/>
                  </a:lnTo>
                  <a:lnTo>
                    <a:pt x="3548064" y="3813176"/>
                  </a:lnTo>
                  <a:lnTo>
                    <a:pt x="3535364" y="3821113"/>
                  </a:lnTo>
                  <a:lnTo>
                    <a:pt x="3524250" y="3827463"/>
                  </a:lnTo>
                  <a:lnTo>
                    <a:pt x="3511550" y="3833813"/>
                  </a:lnTo>
                  <a:lnTo>
                    <a:pt x="3500438" y="3833813"/>
                  </a:lnTo>
                  <a:lnTo>
                    <a:pt x="3484564" y="3833813"/>
                  </a:lnTo>
                  <a:lnTo>
                    <a:pt x="3473450" y="3827463"/>
                  </a:lnTo>
                  <a:lnTo>
                    <a:pt x="3460750" y="3821113"/>
                  </a:lnTo>
                  <a:lnTo>
                    <a:pt x="3451226" y="3813176"/>
                  </a:lnTo>
                  <a:lnTo>
                    <a:pt x="3443288" y="3803651"/>
                  </a:lnTo>
                  <a:lnTo>
                    <a:pt x="3436938" y="3792538"/>
                  </a:lnTo>
                  <a:lnTo>
                    <a:pt x="3430588" y="3779838"/>
                  </a:lnTo>
                  <a:lnTo>
                    <a:pt x="3430588" y="3765551"/>
                  </a:lnTo>
                  <a:lnTo>
                    <a:pt x="3430588" y="2920423"/>
                  </a:lnTo>
                  <a:lnTo>
                    <a:pt x="3355976" y="3582988"/>
                  </a:lnTo>
                  <a:lnTo>
                    <a:pt x="3349626" y="3603625"/>
                  </a:lnTo>
                  <a:lnTo>
                    <a:pt x="3348038" y="3624263"/>
                  </a:lnTo>
                  <a:lnTo>
                    <a:pt x="3338514" y="3643313"/>
                  </a:lnTo>
                  <a:lnTo>
                    <a:pt x="3328988" y="3663950"/>
                  </a:lnTo>
                  <a:lnTo>
                    <a:pt x="3317876" y="3678238"/>
                  </a:lnTo>
                  <a:lnTo>
                    <a:pt x="3305176" y="3695700"/>
                  </a:lnTo>
                  <a:lnTo>
                    <a:pt x="3290888" y="3711575"/>
                  </a:lnTo>
                  <a:lnTo>
                    <a:pt x="3275014" y="3722688"/>
                  </a:lnTo>
                  <a:lnTo>
                    <a:pt x="3260726" y="3735388"/>
                  </a:lnTo>
                  <a:lnTo>
                    <a:pt x="3243262" y="3746500"/>
                  </a:lnTo>
                  <a:lnTo>
                    <a:pt x="3222626" y="3756025"/>
                  </a:lnTo>
                  <a:lnTo>
                    <a:pt x="3203576" y="3762375"/>
                  </a:lnTo>
                  <a:lnTo>
                    <a:pt x="3182938" y="3768725"/>
                  </a:lnTo>
                  <a:lnTo>
                    <a:pt x="3162300" y="3771900"/>
                  </a:lnTo>
                  <a:lnTo>
                    <a:pt x="3141662" y="3771900"/>
                  </a:lnTo>
                  <a:lnTo>
                    <a:pt x="3121026" y="3771900"/>
                  </a:lnTo>
                  <a:lnTo>
                    <a:pt x="3097214" y="3765550"/>
                  </a:lnTo>
                  <a:lnTo>
                    <a:pt x="3078162" y="3759200"/>
                  </a:lnTo>
                  <a:lnTo>
                    <a:pt x="3057526" y="3752850"/>
                  </a:lnTo>
                  <a:lnTo>
                    <a:pt x="3040062" y="3744913"/>
                  </a:lnTo>
                  <a:lnTo>
                    <a:pt x="3022600" y="3732213"/>
                  </a:lnTo>
                  <a:lnTo>
                    <a:pt x="3003550" y="3721100"/>
                  </a:lnTo>
                  <a:lnTo>
                    <a:pt x="2989263" y="3705225"/>
                  </a:lnTo>
                  <a:lnTo>
                    <a:pt x="2976563" y="3690938"/>
                  </a:lnTo>
                  <a:lnTo>
                    <a:pt x="2965450" y="3671888"/>
                  </a:lnTo>
                  <a:lnTo>
                    <a:pt x="2952750" y="3657600"/>
                  </a:lnTo>
                  <a:lnTo>
                    <a:pt x="2947988" y="3636963"/>
                  </a:lnTo>
                  <a:lnTo>
                    <a:pt x="2938463" y="3619500"/>
                  </a:lnTo>
                  <a:lnTo>
                    <a:pt x="2935288" y="3597275"/>
                  </a:lnTo>
                  <a:lnTo>
                    <a:pt x="2932113" y="3576638"/>
                  </a:lnTo>
                  <a:lnTo>
                    <a:pt x="2928938" y="3556000"/>
                  </a:lnTo>
                  <a:lnTo>
                    <a:pt x="2932113" y="3532188"/>
                  </a:lnTo>
                  <a:lnTo>
                    <a:pt x="3051176" y="2478087"/>
                  </a:lnTo>
                  <a:lnTo>
                    <a:pt x="3054350" y="2457450"/>
                  </a:lnTo>
                  <a:lnTo>
                    <a:pt x="3060700" y="2436812"/>
                  </a:lnTo>
                  <a:lnTo>
                    <a:pt x="3070226" y="2416175"/>
                  </a:lnTo>
                  <a:lnTo>
                    <a:pt x="3078162" y="2397125"/>
                  </a:lnTo>
                  <a:lnTo>
                    <a:pt x="3087688" y="2379662"/>
                  </a:lnTo>
                  <a:lnTo>
                    <a:pt x="3101976" y="2365375"/>
                  </a:lnTo>
                  <a:lnTo>
                    <a:pt x="3114676" y="2349500"/>
                  </a:lnTo>
                  <a:lnTo>
                    <a:pt x="3128962" y="2335212"/>
                  </a:lnTo>
                  <a:lnTo>
                    <a:pt x="3148014" y="2322512"/>
                  </a:lnTo>
                  <a:lnTo>
                    <a:pt x="3165476" y="2314575"/>
                  </a:lnTo>
                  <a:lnTo>
                    <a:pt x="3182938" y="2305050"/>
                  </a:lnTo>
                  <a:lnTo>
                    <a:pt x="3203576" y="2298700"/>
                  </a:lnTo>
                  <a:lnTo>
                    <a:pt x="3222626" y="2293937"/>
                  </a:lnTo>
                  <a:lnTo>
                    <a:pt x="3243262" y="2290762"/>
                  </a:lnTo>
                  <a:lnTo>
                    <a:pt x="3260726" y="2290762"/>
                  </a:lnTo>
                  <a:lnTo>
                    <a:pt x="3273426" y="2284412"/>
                  </a:lnTo>
                  <a:lnTo>
                    <a:pt x="3294064" y="2281237"/>
                  </a:lnTo>
                  <a:lnTo>
                    <a:pt x="3314700" y="2274887"/>
                  </a:lnTo>
                  <a:lnTo>
                    <a:pt x="3690474" y="2234675"/>
                  </a:lnTo>
                  <a:lnTo>
                    <a:pt x="3667126" y="2144713"/>
                  </a:lnTo>
                  <a:lnTo>
                    <a:pt x="3609976" y="1931988"/>
                  </a:lnTo>
                  <a:lnTo>
                    <a:pt x="3582988" y="1827213"/>
                  </a:lnTo>
                  <a:lnTo>
                    <a:pt x="3549650" y="1722437"/>
                  </a:lnTo>
                  <a:lnTo>
                    <a:pt x="3514726" y="1620837"/>
                  </a:lnTo>
                  <a:lnTo>
                    <a:pt x="3475038" y="1525587"/>
                  </a:lnTo>
                  <a:lnTo>
                    <a:pt x="3459802" y="1481266"/>
                  </a:lnTo>
                  <a:lnTo>
                    <a:pt x="3457576" y="1484313"/>
                  </a:lnTo>
                  <a:lnTo>
                    <a:pt x="3406776" y="1570038"/>
                  </a:lnTo>
                  <a:lnTo>
                    <a:pt x="3359150" y="1660525"/>
                  </a:lnTo>
                  <a:lnTo>
                    <a:pt x="3341750" y="1690108"/>
                  </a:lnTo>
                  <a:lnTo>
                    <a:pt x="3341688" y="1690688"/>
                  </a:lnTo>
                  <a:lnTo>
                    <a:pt x="3328988" y="1717675"/>
                  </a:lnTo>
                  <a:lnTo>
                    <a:pt x="3317876" y="1744663"/>
                  </a:lnTo>
                  <a:lnTo>
                    <a:pt x="3297238" y="1765300"/>
                  </a:lnTo>
                  <a:lnTo>
                    <a:pt x="3275014" y="1782763"/>
                  </a:lnTo>
                  <a:lnTo>
                    <a:pt x="3249614" y="1797050"/>
                  </a:lnTo>
                  <a:lnTo>
                    <a:pt x="3219450" y="1806575"/>
                  </a:lnTo>
                  <a:lnTo>
                    <a:pt x="2603954" y="1993900"/>
                  </a:lnTo>
                  <a:lnTo>
                    <a:pt x="2606676" y="1993900"/>
                  </a:lnTo>
                  <a:lnTo>
                    <a:pt x="2619376" y="1993900"/>
                  </a:lnTo>
                  <a:lnTo>
                    <a:pt x="2633663" y="2000250"/>
                  </a:lnTo>
                  <a:lnTo>
                    <a:pt x="2646363" y="2006600"/>
                  </a:lnTo>
                  <a:lnTo>
                    <a:pt x="2654300" y="2016125"/>
                  </a:lnTo>
                  <a:lnTo>
                    <a:pt x="2663826" y="2024063"/>
                  </a:lnTo>
                  <a:lnTo>
                    <a:pt x="2670176" y="2036763"/>
                  </a:lnTo>
                  <a:lnTo>
                    <a:pt x="2671763" y="2047875"/>
                  </a:lnTo>
                  <a:lnTo>
                    <a:pt x="2674938" y="2063751"/>
                  </a:lnTo>
                  <a:lnTo>
                    <a:pt x="2671763" y="2074863"/>
                  </a:lnTo>
                  <a:lnTo>
                    <a:pt x="2670176" y="2087563"/>
                  </a:lnTo>
                  <a:lnTo>
                    <a:pt x="2663826" y="2098676"/>
                  </a:lnTo>
                  <a:lnTo>
                    <a:pt x="2654300" y="2111375"/>
                  </a:lnTo>
                  <a:lnTo>
                    <a:pt x="3027362" y="2111375"/>
                  </a:lnTo>
                  <a:lnTo>
                    <a:pt x="3040062" y="2111375"/>
                  </a:lnTo>
                  <a:lnTo>
                    <a:pt x="3054350" y="2114550"/>
                  </a:lnTo>
                  <a:lnTo>
                    <a:pt x="3063876" y="2119313"/>
                  </a:lnTo>
                  <a:lnTo>
                    <a:pt x="3074988" y="2128838"/>
                  </a:lnTo>
                  <a:lnTo>
                    <a:pt x="3084514" y="2141538"/>
                  </a:lnTo>
                  <a:lnTo>
                    <a:pt x="3090862" y="2149475"/>
                  </a:lnTo>
                  <a:lnTo>
                    <a:pt x="3094038" y="2165350"/>
                  </a:lnTo>
                  <a:lnTo>
                    <a:pt x="3094038" y="2176463"/>
                  </a:lnTo>
                  <a:lnTo>
                    <a:pt x="3094038" y="2192338"/>
                  </a:lnTo>
                  <a:lnTo>
                    <a:pt x="3090862" y="2203450"/>
                  </a:lnTo>
                  <a:lnTo>
                    <a:pt x="3084514" y="2216150"/>
                  </a:lnTo>
                  <a:lnTo>
                    <a:pt x="3074988" y="2224088"/>
                  </a:lnTo>
                  <a:lnTo>
                    <a:pt x="3063876" y="2233613"/>
                  </a:lnTo>
                  <a:lnTo>
                    <a:pt x="3054350" y="2239963"/>
                  </a:lnTo>
                  <a:lnTo>
                    <a:pt x="3040062" y="2243138"/>
                  </a:lnTo>
                  <a:lnTo>
                    <a:pt x="3027362" y="2244725"/>
                  </a:lnTo>
                  <a:lnTo>
                    <a:pt x="2857501" y="2244725"/>
                  </a:lnTo>
                  <a:lnTo>
                    <a:pt x="2857501" y="3765551"/>
                  </a:lnTo>
                  <a:lnTo>
                    <a:pt x="2857501" y="3779838"/>
                  </a:lnTo>
                  <a:lnTo>
                    <a:pt x="2851151" y="3792538"/>
                  </a:lnTo>
                  <a:lnTo>
                    <a:pt x="2846388" y="3803651"/>
                  </a:lnTo>
                  <a:lnTo>
                    <a:pt x="2836863" y="3813176"/>
                  </a:lnTo>
                  <a:lnTo>
                    <a:pt x="2827338" y="3821113"/>
                  </a:lnTo>
                  <a:lnTo>
                    <a:pt x="2816226" y="3827463"/>
                  </a:lnTo>
                  <a:lnTo>
                    <a:pt x="2803526" y="3833813"/>
                  </a:lnTo>
                  <a:lnTo>
                    <a:pt x="2789238" y="3833813"/>
                  </a:lnTo>
                  <a:lnTo>
                    <a:pt x="2776538" y="3833813"/>
                  </a:lnTo>
                  <a:lnTo>
                    <a:pt x="2765426" y="3827463"/>
                  </a:lnTo>
                  <a:lnTo>
                    <a:pt x="2752726" y="3821113"/>
                  </a:lnTo>
                  <a:lnTo>
                    <a:pt x="2741613" y="3813176"/>
                  </a:lnTo>
                  <a:lnTo>
                    <a:pt x="2735263" y="3803651"/>
                  </a:lnTo>
                  <a:lnTo>
                    <a:pt x="2728913" y="3792538"/>
                  </a:lnTo>
                  <a:lnTo>
                    <a:pt x="2722563" y="3779838"/>
                  </a:lnTo>
                  <a:lnTo>
                    <a:pt x="2722563" y="3765551"/>
                  </a:lnTo>
                  <a:lnTo>
                    <a:pt x="2722563" y="2244725"/>
                  </a:lnTo>
                  <a:lnTo>
                    <a:pt x="274638" y="2244725"/>
                  </a:lnTo>
                  <a:lnTo>
                    <a:pt x="274638" y="3765551"/>
                  </a:lnTo>
                  <a:lnTo>
                    <a:pt x="271463" y="3779838"/>
                  </a:lnTo>
                  <a:lnTo>
                    <a:pt x="268288" y="3792538"/>
                  </a:lnTo>
                  <a:lnTo>
                    <a:pt x="263526" y="3803651"/>
                  </a:lnTo>
                  <a:lnTo>
                    <a:pt x="254000" y="3813176"/>
                  </a:lnTo>
                  <a:lnTo>
                    <a:pt x="244476" y="3821113"/>
                  </a:lnTo>
                  <a:lnTo>
                    <a:pt x="233363" y="3827463"/>
                  </a:lnTo>
                  <a:lnTo>
                    <a:pt x="217488" y="3833813"/>
                  </a:lnTo>
                  <a:lnTo>
                    <a:pt x="206376" y="3833813"/>
                  </a:lnTo>
                  <a:lnTo>
                    <a:pt x="190500" y="3833813"/>
                  </a:lnTo>
                  <a:lnTo>
                    <a:pt x="179388" y="3827463"/>
                  </a:lnTo>
                  <a:lnTo>
                    <a:pt x="166688" y="3821113"/>
                  </a:lnTo>
                  <a:lnTo>
                    <a:pt x="158750" y="3813176"/>
                  </a:lnTo>
                  <a:lnTo>
                    <a:pt x="149226" y="3803651"/>
                  </a:lnTo>
                  <a:lnTo>
                    <a:pt x="142876" y="3792538"/>
                  </a:lnTo>
                  <a:lnTo>
                    <a:pt x="139700" y="3779838"/>
                  </a:lnTo>
                  <a:lnTo>
                    <a:pt x="138113" y="3765551"/>
                  </a:lnTo>
                  <a:lnTo>
                    <a:pt x="138113" y="2244725"/>
                  </a:lnTo>
                  <a:lnTo>
                    <a:pt x="68263" y="2244725"/>
                  </a:lnTo>
                  <a:lnTo>
                    <a:pt x="53975" y="2243138"/>
                  </a:lnTo>
                  <a:lnTo>
                    <a:pt x="41275" y="2239963"/>
                  </a:lnTo>
                  <a:lnTo>
                    <a:pt x="30163" y="2233613"/>
                  </a:lnTo>
                  <a:lnTo>
                    <a:pt x="20638" y="2224088"/>
                  </a:lnTo>
                  <a:lnTo>
                    <a:pt x="12700" y="2216150"/>
                  </a:lnTo>
                  <a:lnTo>
                    <a:pt x="6350" y="2203450"/>
                  </a:lnTo>
                  <a:lnTo>
                    <a:pt x="0" y="2192338"/>
                  </a:lnTo>
                  <a:lnTo>
                    <a:pt x="0" y="2176463"/>
                  </a:lnTo>
                  <a:lnTo>
                    <a:pt x="0" y="2165350"/>
                  </a:lnTo>
                  <a:lnTo>
                    <a:pt x="6350" y="2149475"/>
                  </a:lnTo>
                  <a:lnTo>
                    <a:pt x="12700" y="2141538"/>
                  </a:lnTo>
                  <a:lnTo>
                    <a:pt x="20638" y="2128838"/>
                  </a:lnTo>
                  <a:lnTo>
                    <a:pt x="30163" y="2119313"/>
                  </a:lnTo>
                  <a:lnTo>
                    <a:pt x="41275" y="2114550"/>
                  </a:lnTo>
                  <a:lnTo>
                    <a:pt x="53975" y="2111375"/>
                  </a:lnTo>
                  <a:lnTo>
                    <a:pt x="68263" y="2111375"/>
                  </a:lnTo>
                  <a:lnTo>
                    <a:pt x="1738313" y="2111375"/>
                  </a:lnTo>
                  <a:lnTo>
                    <a:pt x="1731963" y="2098676"/>
                  </a:lnTo>
                  <a:lnTo>
                    <a:pt x="1722438" y="2087563"/>
                  </a:lnTo>
                  <a:lnTo>
                    <a:pt x="1719263" y="2074863"/>
                  </a:lnTo>
                  <a:lnTo>
                    <a:pt x="1719263" y="2063751"/>
                  </a:lnTo>
                  <a:lnTo>
                    <a:pt x="1719263" y="2062529"/>
                  </a:lnTo>
                  <a:lnTo>
                    <a:pt x="1690688" y="2057400"/>
                  </a:lnTo>
                  <a:lnTo>
                    <a:pt x="1677988" y="2051050"/>
                  </a:lnTo>
                  <a:lnTo>
                    <a:pt x="1666875" y="2039937"/>
                  </a:lnTo>
                  <a:lnTo>
                    <a:pt x="1639888" y="2009775"/>
                  </a:lnTo>
                  <a:lnTo>
                    <a:pt x="1617662" y="1970087"/>
                  </a:lnTo>
                  <a:lnTo>
                    <a:pt x="1597025" y="1928812"/>
                  </a:lnTo>
                  <a:lnTo>
                    <a:pt x="1565275" y="1854200"/>
                  </a:lnTo>
                  <a:lnTo>
                    <a:pt x="1552575" y="1820862"/>
                  </a:lnTo>
                  <a:lnTo>
                    <a:pt x="1484312" y="1576387"/>
                  </a:lnTo>
                  <a:lnTo>
                    <a:pt x="1444625" y="1443037"/>
                  </a:lnTo>
                  <a:lnTo>
                    <a:pt x="1412875" y="1311274"/>
                  </a:lnTo>
                  <a:lnTo>
                    <a:pt x="1385888" y="1192212"/>
                  </a:lnTo>
                  <a:lnTo>
                    <a:pt x="1373188" y="1138237"/>
                  </a:lnTo>
                  <a:lnTo>
                    <a:pt x="1366838" y="1090612"/>
                  </a:lnTo>
                  <a:lnTo>
                    <a:pt x="1365250" y="1047749"/>
                  </a:lnTo>
                  <a:lnTo>
                    <a:pt x="1365250" y="1015999"/>
                  </a:lnTo>
                  <a:lnTo>
                    <a:pt x="1370012" y="989012"/>
                  </a:lnTo>
                  <a:lnTo>
                    <a:pt x="1376362" y="979487"/>
                  </a:lnTo>
                  <a:lnTo>
                    <a:pt x="1379538" y="973137"/>
                  </a:lnTo>
                  <a:lnTo>
                    <a:pt x="1460500" y="935037"/>
                  </a:lnTo>
                  <a:lnTo>
                    <a:pt x="1738957" y="2015573"/>
                  </a:lnTo>
                  <a:lnTo>
                    <a:pt x="1749426" y="2006600"/>
                  </a:lnTo>
                  <a:lnTo>
                    <a:pt x="1758950" y="2000250"/>
                  </a:lnTo>
                  <a:lnTo>
                    <a:pt x="1773238" y="1993900"/>
                  </a:lnTo>
                  <a:lnTo>
                    <a:pt x="1785938" y="1993900"/>
                  </a:lnTo>
                  <a:lnTo>
                    <a:pt x="2264305" y="1993900"/>
                  </a:lnTo>
                  <a:lnTo>
                    <a:pt x="2257426" y="1985963"/>
                  </a:lnTo>
                  <a:lnTo>
                    <a:pt x="2244726" y="1958975"/>
                  </a:lnTo>
                  <a:lnTo>
                    <a:pt x="2236788" y="1928813"/>
                  </a:lnTo>
                  <a:lnTo>
                    <a:pt x="2233613" y="1898650"/>
                  </a:lnTo>
                  <a:lnTo>
                    <a:pt x="2236788" y="1868488"/>
                  </a:lnTo>
                  <a:lnTo>
                    <a:pt x="2244726" y="1839913"/>
                  </a:lnTo>
                  <a:lnTo>
                    <a:pt x="2260600" y="1812925"/>
                  </a:lnTo>
                  <a:lnTo>
                    <a:pt x="2278063" y="1792288"/>
                  </a:lnTo>
                  <a:lnTo>
                    <a:pt x="2301876" y="1773238"/>
                  </a:lnTo>
                  <a:lnTo>
                    <a:pt x="2328863" y="1758950"/>
                  </a:lnTo>
                  <a:lnTo>
                    <a:pt x="2359026" y="1749425"/>
                  </a:lnTo>
                  <a:lnTo>
                    <a:pt x="3084708" y="1528565"/>
                  </a:lnTo>
                  <a:lnTo>
                    <a:pt x="3311526" y="1152524"/>
                  </a:lnTo>
                  <a:lnTo>
                    <a:pt x="3349626" y="1084262"/>
                  </a:lnTo>
                  <a:lnTo>
                    <a:pt x="3368676" y="1050924"/>
                  </a:lnTo>
                  <a:lnTo>
                    <a:pt x="3389314" y="1017587"/>
                  </a:lnTo>
                  <a:lnTo>
                    <a:pt x="3413126" y="989012"/>
                  </a:lnTo>
                  <a:lnTo>
                    <a:pt x="3436938" y="958849"/>
                  </a:lnTo>
                  <a:lnTo>
                    <a:pt x="3467100" y="935037"/>
                  </a:lnTo>
                  <a:lnTo>
                    <a:pt x="3467392" y="934856"/>
                  </a:lnTo>
                  <a:lnTo>
                    <a:pt x="3475038" y="925512"/>
                  </a:lnTo>
                  <a:lnTo>
                    <a:pt x="3490912" y="911224"/>
                  </a:lnTo>
                  <a:lnTo>
                    <a:pt x="3505200" y="895349"/>
                  </a:lnTo>
                  <a:lnTo>
                    <a:pt x="3522244" y="882567"/>
                  </a:lnTo>
                  <a:lnTo>
                    <a:pt x="3517900" y="884237"/>
                  </a:lnTo>
                  <a:lnTo>
                    <a:pt x="3475038" y="895350"/>
                  </a:lnTo>
                  <a:lnTo>
                    <a:pt x="3433762" y="901700"/>
                  </a:lnTo>
                  <a:lnTo>
                    <a:pt x="3389314" y="908050"/>
                  </a:lnTo>
                  <a:lnTo>
                    <a:pt x="3344862" y="904875"/>
                  </a:lnTo>
                  <a:lnTo>
                    <a:pt x="3302000" y="901700"/>
                  </a:lnTo>
                  <a:lnTo>
                    <a:pt x="3257550" y="890587"/>
                  </a:lnTo>
                  <a:lnTo>
                    <a:pt x="3213100" y="877887"/>
                  </a:lnTo>
                  <a:lnTo>
                    <a:pt x="3171826" y="857250"/>
                  </a:lnTo>
                  <a:lnTo>
                    <a:pt x="3128962" y="836612"/>
                  </a:lnTo>
                  <a:lnTo>
                    <a:pt x="3094038" y="809625"/>
                  </a:lnTo>
                  <a:lnTo>
                    <a:pt x="3060700" y="779462"/>
                  </a:lnTo>
                  <a:lnTo>
                    <a:pt x="3030538" y="749300"/>
                  </a:lnTo>
                  <a:lnTo>
                    <a:pt x="3003550" y="714375"/>
                  </a:lnTo>
                  <a:lnTo>
                    <a:pt x="2979738" y="677862"/>
                  </a:lnTo>
                  <a:lnTo>
                    <a:pt x="2962276" y="639762"/>
                  </a:lnTo>
                  <a:lnTo>
                    <a:pt x="2944813" y="596900"/>
                  </a:lnTo>
                  <a:lnTo>
                    <a:pt x="2932113" y="555625"/>
                  </a:lnTo>
                  <a:lnTo>
                    <a:pt x="2925763" y="514350"/>
                  </a:lnTo>
                  <a:lnTo>
                    <a:pt x="2922588" y="468312"/>
                  </a:lnTo>
                  <a:lnTo>
                    <a:pt x="2922588" y="427037"/>
                  </a:lnTo>
                  <a:lnTo>
                    <a:pt x="2925763" y="382587"/>
                  </a:lnTo>
                  <a:lnTo>
                    <a:pt x="2938463" y="338137"/>
                  </a:lnTo>
                  <a:lnTo>
                    <a:pt x="2952750" y="292100"/>
                  </a:lnTo>
                  <a:lnTo>
                    <a:pt x="2971800" y="250825"/>
                  </a:lnTo>
                  <a:lnTo>
                    <a:pt x="2992438" y="212725"/>
                  </a:lnTo>
                  <a:lnTo>
                    <a:pt x="3019426" y="173037"/>
                  </a:lnTo>
                  <a:lnTo>
                    <a:pt x="3048000" y="141287"/>
                  </a:lnTo>
                  <a:lnTo>
                    <a:pt x="3078162" y="111125"/>
                  </a:lnTo>
                  <a:lnTo>
                    <a:pt x="3114676" y="84137"/>
                  </a:lnTo>
                  <a:lnTo>
                    <a:pt x="3149600" y="60325"/>
                  </a:lnTo>
                  <a:lnTo>
                    <a:pt x="3189288" y="41275"/>
                  </a:lnTo>
                  <a:lnTo>
                    <a:pt x="3230562" y="23812"/>
                  </a:lnTo>
                  <a:lnTo>
                    <a:pt x="3273426" y="12700"/>
                  </a:lnTo>
                  <a:lnTo>
                    <a:pt x="3314700" y="6350"/>
                  </a:lnTo>
                  <a:lnTo>
                    <a:pt x="3359150" y="0"/>
                  </a:lnTo>
                  <a:close/>
                </a:path>
              </a:pathLst>
            </a:custGeom>
            <a:solidFill>
              <a:srgbClr val="00B0F0"/>
            </a:solidFill>
            <a:ln w="1860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81280" tIns="40640" rIns="81280" bIns="4064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defTabSz="406390">
                <a:defRPr/>
              </a:pPr>
              <a:endParaRPr lang="zh-CN" altLang="en-US" sz="240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50" name="KSO_Shape">
              <a:extLst>
                <a:ext uri="{FF2B5EF4-FFF2-40B4-BE49-F238E27FC236}">
                  <a16:creationId xmlns:a16="http://schemas.microsoft.com/office/drawing/2014/main" id="{BCB47762-52C3-4622-B19B-E843DC010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52" y="5392891"/>
              <a:ext cx="432000" cy="432000"/>
            </a:xfrm>
            <a:custGeom>
              <a:avLst/>
              <a:gdLst/>
              <a:ahLst/>
              <a:cxnLst/>
              <a:rect l="0" t="0" r="r" b="b"/>
              <a:pathLst>
                <a:path w="4741862" h="3833813">
                  <a:moveTo>
                    <a:pt x="247650" y="2000250"/>
                  </a:moveTo>
                  <a:lnTo>
                    <a:pt x="1016000" y="2000250"/>
                  </a:lnTo>
                  <a:lnTo>
                    <a:pt x="1030288" y="2003425"/>
                  </a:lnTo>
                  <a:lnTo>
                    <a:pt x="1041400" y="2012950"/>
                  </a:lnTo>
                  <a:lnTo>
                    <a:pt x="1050925" y="2020888"/>
                  </a:lnTo>
                  <a:lnTo>
                    <a:pt x="1054100" y="2036763"/>
                  </a:lnTo>
                  <a:lnTo>
                    <a:pt x="1050925" y="2051051"/>
                  </a:lnTo>
                  <a:lnTo>
                    <a:pt x="1041400" y="2063751"/>
                  </a:lnTo>
                  <a:lnTo>
                    <a:pt x="1030288" y="2071688"/>
                  </a:lnTo>
                  <a:lnTo>
                    <a:pt x="1016000" y="2074863"/>
                  </a:lnTo>
                  <a:lnTo>
                    <a:pt x="247650" y="2074863"/>
                  </a:lnTo>
                  <a:lnTo>
                    <a:pt x="233362" y="2071688"/>
                  </a:lnTo>
                  <a:lnTo>
                    <a:pt x="220662" y="2063751"/>
                  </a:lnTo>
                  <a:lnTo>
                    <a:pt x="212725" y="2051051"/>
                  </a:lnTo>
                  <a:lnTo>
                    <a:pt x="209550" y="2036763"/>
                  </a:lnTo>
                  <a:lnTo>
                    <a:pt x="212725" y="2020888"/>
                  </a:lnTo>
                  <a:lnTo>
                    <a:pt x="220662" y="2012950"/>
                  </a:lnTo>
                  <a:lnTo>
                    <a:pt x="233362" y="2003425"/>
                  </a:lnTo>
                  <a:lnTo>
                    <a:pt x="247650" y="2000250"/>
                  </a:lnTo>
                  <a:close/>
                  <a:moveTo>
                    <a:pt x="244475" y="1901825"/>
                  </a:moveTo>
                  <a:lnTo>
                    <a:pt x="1012825" y="1901825"/>
                  </a:lnTo>
                  <a:lnTo>
                    <a:pt x="1027112" y="1905000"/>
                  </a:lnTo>
                  <a:lnTo>
                    <a:pt x="1039812" y="1914525"/>
                  </a:lnTo>
                  <a:lnTo>
                    <a:pt x="1044575" y="1925638"/>
                  </a:lnTo>
                  <a:lnTo>
                    <a:pt x="1047750" y="1941513"/>
                  </a:lnTo>
                  <a:lnTo>
                    <a:pt x="1044575" y="1952626"/>
                  </a:lnTo>
                  <a:lnTo>
                    <a:pt x="1039812" y="1965326"/>
                  </a:lnTo>
                  <a:lnTo>
                    <a:pt x="1027112" y="1973263"/>
                  </a:lnTo>
                  <a:lnTo>
                    <a:pt x="1012825" y="1976438"/>
                  </a:lnTo>
                  <a:lnTo>
                    <a:pt x="244475" y="1976438"/>
                  </a:lnTo>
                  <a:lnTo>
                    <a:pt x="230188" y="1973263"/>
                  </a:lnTo>
                  <a:lnTo>
                    <a:pt x="217488" y="1965326"/>
                  </a:lnTo>
                  <a:lnTo>
                    <a:pt x="209550" y="1952626"/>
                  </a:lnTo>
                  <a:lnTo>
                    <a:pt x="206375" y="1941513"/>
                  </a:lnTo>
                  <a:lnTo>
                    <a:pt x="209550" y="1925638"/>
                  </a:lnTo>
                  <a:lnTo>
                    <a:pt x="217488" y="1914525"/>
                  </a:lnTo>
                  <a:lnTo>
                    <a:pt x="230188" y="1905000"/>
                  </a:lnTo>
                  <a:lnTo>
                    <a:pt x="244475" y="1901825"/>
                  </a:lnTo>
                  <a:close/>
                  <a:moveTo>
                    <a:pt x="277813" y="1803400"/>
                  </a:moveTo>
                  <a:lnTo>
                    <a:pt x="1047750" y="1803400"/>
                  </a:lnTo>
                  <a:lnTo>
                    <a:pt x="1060450" y="1806575"/>
                  </a:lnTo>
                  <a:lnTo>
                    <a:pt x="1071563" y="1816100"/>
                  </a:lnTo>
                  <a:lnTo>
                    <a:pt x="1081088" y="1827213"/>
                  </a:lnTo>
                  <a:lnTo>
                    <a:pt x="1084263" y="1843088"/>
                  </a:lnTo>
                  <a:lnTo>
                    <a:pt x="1081088" y="1857376"/>
                  </a:lnTo>
                  <a:lnTo>
                    <a:pt x="1071563" y="1868488"/>
                  </a:lnTo>
                  <a:lnTo>
                    <a:pt x="1060450" y="1874838"/>
                  </a:lnTo>
                  <a:lnTo>
                    <a:pt x="1047750" y="1878013"/>
                  </a:lnTo>
                  <a:lnTo>
                    <a:pt x="277813" y="1878013"/>
                  </a:lnTo>
                  <a:lnTo>
                    <a:pt x="263525" y="1874838"/>
                  </a:lnTo>
                  <a:lnTo>
                    <a:pt x="250825" y="1868488"/>
                  </a:lnTo>
                  <a:lnTo>
                    <a:pt x="244475" y="1857376"/>
                  </a:lnTo>
                  <a:lnTo>
                    <a:pt x="241300" y="1843088"/>
                  </a:lnTo>
                  <a:lnTo>
                    <a:pt x="244475" y="1827213"/>
                  </a:lnTo>
                  <a:lnTo>
                    <a:pt x="250825" y="1816100"/>
                  </a:lnTo>
                  <a:lnTo>
                    <a:pt x="263525" y="1806575"/>
                  </a:lnTo>
                  <a:lnTo>
                    <a:pt x="277813" y="1803400"/>
                  </a:lnTo>
                  <a:close/>
                  <a:moveTo>
                    <a:pt x="238125" y="1708150"/>
                  </a:moveTo>
                  <a:lnTo>
                    <a:pt x="1009650" y="1708150"/>
                  </a:lnTo>
                  <a:lnTo>
                    <a:pt x="1020762" y="1711325"/>
                  </a:lnTo>
                  <a:lnTo>
                    <a:pt x="1033462" y="1717675"/>
                  </a:lnTo>
                  <a:lnTo>
                    <a:pt x="1041400" y="1728788"/>
                  </a:lnTo>
                  <a:lnTo>
                    <a:pt x="1044575" y="1744663"/>
                  </a:lnTo>
                  <a:lnTo>
                    <a:pt x="1041400" y="1758951"/>
                  </a:lnTo>
                  <a:lnTo>
                    <a:pt x="1033462" y="1770063"/>
                  </a:lnTo>
                  <a:lnTo>
                    <a:pt x="1020762" y="1779588"/>
                  </a:lnTo>
                  <a:lnTo>
                    <a:pt x="1009650" y="1782763"/>
                  </a:lnTo>
                  <a:lnTo>
                    <a:pt x="238125" y="1782763"/>
                  </a:lnTo>
                  <a:lnTo>
                    <a:pt x="223838" y="1779588"/>
                  </a:lnTo>
                  <a:lnTo>
                    <a:pt x="212725" y="1770063"/>
                  </a:lnTo>
                  <a:lnTo>
                    <a:pt x="206375" y="1758951"/>
                  </a:lnTo>
                  <a:lnTo>
                    <a:pt x="203200" y="1744663"/>
                  </a:lnTo>
                  <a:lnTo>
                    <a:pt x="206375" y="1728788"/>
                  </a:lnTo>
                  <a:lnTo>
                    <a:pt x="212725" y="1717675"/>
                  </a:lnTo>
                  <a:lnTo>
                    <a:pt x="223838" y="1711325"/>
                  </a:lnTo>
                  <a:lnTo>
                    <a:pt x="238125" y="1708150"/>
                  </a:lnTo>
                  <a:close/>
                  <a:moveTo>
                    <a:pt x="301626" y="1609725"/>
                  </a:moveTo>
                  <a:lnTo>
                    <a:pt x="1068388" y="1609725"/>
                  </a:lnTo>
                  <a:lnTo>
                    <a:pt x="1084264" y="1612900"/>
                  </a:lnTo>
                  <a:lnTo>
                    <a:pt x="1095376" y="1620838"/>
                  </a:lnTo>
                  <a:lnTo>
                    <a:pt x="1104901" y="1633538"/>
                  </a:lnTo>
                  <a:lnTo>
                    <a:pt x="1108076" y="1644650"/>
                  </a:lnTo>
                  <a:lnTo>
                    <a:pt x="1104901" y="1660526"/>
                  </a:lnTo>
                  <a:lnTo>
                    <a:pt x="1095376" y="1671638"/>
                  </a:lnTo>
                  <a:lnTo>
                    <a:pt x="1084264" y="1681163"/>
                  </a:lnTo>
                  <a:lnTo>
                    <a:pt x="1068388" y="1684338"/>
                  </a:lnTo>
                  <a:lnTo>
                    <a:pt x="301626" y="1684338"/>
                  </a:lnTo>
                  <a:lnTo>
                    <a:pt x="287338" y="1681163"/>
                  </a:lnTo>
                  <a:lnTo>
                    <a:pt x="274638" y="1671638"/>
                  </a:lnTo>
                  <a:lnTo>
                    <a:pt x="268288" y="1660526"/>
                  </a:lnTo>
                  <a:lnTo>
                    <a:pt x="265113" y="1644650"/>
                  </a:lnTo>
                  <a:lnTo>
                    <a:pt x="268288" y="1633538"/>
                  </a:lnTo>
                  <a:lnTo>
                    <a:pt x="274638" y="1620838"/>
                  </a:lnTo>
                  <a:lnTo>
                    <a:pt x="287338" y="1612900"/>
                  </a:lnTo>
                  <a:lnTo>
                    <a:pt x="301626" y="1609725"/>
                  </a:lnTo>
                  <a:close/>
                  <a:moveTo>
                    <a:pt x="254001" y="1511300"/>
                  </a:moveTo>
                  <a:lnTo>
                    <a:pt x="1020764" y="1511300"/>
                  </a:lnTo>
                  <a:lnTo>
                    <a:pt x="1036638" y="1514475"/>
                  </a:lnTo>
                  <a:lnTo>
                    <a:pt x="1047751" y="1522413"/>
                  </a:lnTo>
                  <a:lnTo>
                    <a:pt x="1057276" y="1535113"/>
                  </a:lnTo>
                  <a:lnTo>
                    <a:pt x="1060451" y="1549401"/>
                  </a:lnTo>
                  <a:lnTo>
                    <a:pt x="1057276" y="1562101"/>
                  </a:lnTo>
                  <a:lnTo>
                    <a:pt x="1047751" y="1573213"/>
                  </a:lnTo>
                  <a:lnTo>
                    <a:pt x="1036638" y="1582738"/>
                  </a:lnTo>
                  <a:lnTo>
                    <a:pt x="1020764" y="1585913"/>
                  </a:lnTo>
                  <a:lnTo>
                    <a:pt x="254001" y="1585913"/>
                  </a:lnTo>
                  <a:lnTo>
                    <a:pt x="238126" y="1582738"/>
                  </a:lnTo>
                  <a:lnTo>
                    <a:pt x="227013" y="1573213"/>
                  </a:lnTo>
                  <a:lnTo>
                    <a:pt x="220663" y="1562101"/>
                  </a:lnTo>
                  <a:lnTo>
                    <a:pt x="217488" y="1549401"/>
                  </a:lnTo>
                  <a:lnTo>
                    <a:pt x="220663" y="1535113"/>
                  </a:lnTo>
                  <a:lnTo>
                    <a:pt x="227013" y="1522413"/>
                  </a:lnTo>
                  <a:lnTo>
                    <a:pt x="238126" y="1514475"/>
                  </a:lnTo>
                  <a:lnTo>
                    <a:pt x="254001" y="1511300"/>
                  </a:lnTo>
                  <a:close/>
                  <a:moveTo>
                    <a:pt x="274638" y="1412875"/>
                  </a:moveTo>
                  <a:lnTo>
                    <a:pt x="1041400" y="1412875"/>
                  </a:lnTo>
                  <a:lnTo>
                    <a:pt x="1057276" y="1416050"/>
                  </a:lnTo>
                  <a:lnTo>
                    <a:pt x="1068388" y="1423988"/>
                  </a:lnTo>
                  <a:lnTo>
                    <a:pt x="1077913" y="1436688"/>
                  </a:lnTo>
                  <a:lnTo>
                    <a:pt x="1081088" y="1450976"/>
                  </a:lnTo>
                  <a:lnTo>
                    <a:pt x="1077913" y="1466851"/>
                  </a:lnTo>
                  <a:lnTo>
                    <a:pt x="1068388" y="1477963"/>
                  </a:lnTo>
                  <a:lnTo>
                    <a:pt x="1057276" y="1484313"/>
                  </a:lnTo>
                  <a:lnTo>
                    <a:pt x="1041400" y="1487488"/>
                  </a:lnTo>
                  <a:lnTo>
                    <a:pt x="274638" y="1487488"/>
                  </a:lnTo>
                  <a:lnTo>
                    <a:pt x="260350" y="1484313"/>
                  </a:lnTo>
                  <a:lnTo>
                    <a:pt x="247650" y="1477963"/>
                  </a:lnTo>
                  <a:lnTo>
                    <a:pt x="238126" y="1466851"/>
                  </a:lnTo>
                  <a:lnTo>
                    <a:pt x="236538" y="1450976"/>
                  </a:lnTo>
                  <a:lnTo>
                    <a:pt x="238126" y="1436688"/>
                  </a:lnTo>
                  <a:lnTo>
                    <a:pt x="247650" y="1423988"/>
                  </a:lnTo>
                  <a:lnTo>
                    <a:pt x="260350" y="1416050"/>
                  </a:lnTo>
                  <a:lnTo>
                    <a:pt x="274638" y="1412875"/>
                  </a:lnTo>
                  <a:close/>
                  <a:moveTo>
                    <a:pt x="3359150" y="0"/>
                  </a:moveTo>
                  <a:lnTo>
                    <a:pt x="3403600" y="3175"/>
                  </a:lnTo>
                  <a:lnTo>
                    <a:pt x="3449638" y="6350"/>
                  </a:lnTo>
                  <a:lnTo>
                    <a:pt x="3494088" y="17462"/>
                  </a:lnTo>
                  <a:lnTo>
                    <a:pt x="3535362" y="30162"/>
                  </a:lnTo>
                  <a:lnTo>
                    <a:pt x="3579814" y="50800"/>
                  </a:lnTo>
                  <a:lnTo>
                    <a:pt x="3619500" y="71437"/>
                  </a:lnTo>
                  <a:lnTo>
                    <a:pt x="3654426" y="98425"/>
                  </a:lnTo>
                  <a:lnTo>
                    <a:pt x="3687762" y="128587"/>
                  </a:lnTo>
                  <a:lnTo>
                    <a:pt x="3717926" y="158750"/>
                  </a:lnTo>
                  <a:lnTo>
                    <a:pt x="3744914" y="193675"/>
                  </a:lnTo>
                  <a:lnTo>
                    <a:pt x="3768726" y="230187"/>
                  </a:lnTo>
                  <a:lnTo>
                    <a:pt x="3789362" y="268287"/>
                  </a:lnTo>
                  <a:lnTo>
                    <a:pt x="3803650" y="311150"/>
                  </a:lnTo>
                  <a:lnTo>
                    <a:pt x="3816350" y="352425"/>
                  </a:lnTo>
                  <a:lnTo>
                    <a:pt x="3822700" y="393700"/>
                  </a:lnTo>
                  <a:lnTo>
                    <a:pt x="3827462" y="439737"/>
                  </a:lnTo>
                  <a:lnTo>
                    <a:pt x="3825876" y="484187"/>
                  </a:lnTo>
                  <a:lnTo>
                    <a:pt x="3822700" y="528637"/>
                  </a:lnTo>
                  <a:lnTo>
                    <a:pt x="3813176" y="573087"/>
                  </a:lnTo>
                  <a:lnTo>
                    <a:pt x="3798888" y="615950"/>
                  </a:lnTo>
                  <a:lnTo>
                    <a:pt x="3776662" y="660400"/>
                  </a:lnTo>
                  <a:lnTo>
                    <a:pt x="3756026" y="698500"/>
                  </a:lnTo>
                  <a:lnTo>
                    <a:pt x="3729038" y="735012"/>
                  </a:lnTo>
                  <a:lnTo>
                    <a:pt x="3702050" y="768350"/>
                  </a:lnTo>
                  <a:lnTo>
                    <a:pt x="3670300" y="796925"/>
                  </a:lnTo>
                  <a:lnTo>
                    <a:pt x="3633788" y="823912"/>
                  </a:lnTo>
                  <a:lnTo>
                    <a:pt x="3598862" y="847724"/>
                  </a:lnTo>
                  <a:lnTo>
                    <a:pt x="3606800" y="844549"/>
                  </a:lnTo>
                  <a:lnTo>
                    <a:pt x="3633788" y="842962"/>
                  </a:lnTo>
                  <a:lnTo>
                    <a:pt x="3675062" y="839787"/>
                  </a:lnTo>
                  <a:lnTo>
                    <a:pt x="3721100" y="839787"/>
                  </a:lnTo>
                  <a:lnTo>
                    <a:pt x="3765550" y="842962"/>
                  </a:lnTo>
                  <a:lnTo>
                    <a:pt x="3810000" y="850899"/>
                  </a:lnTo>
                  <a:lnTo>
                    <a:pt x="3857626" y="863599"/>
                  </a:lnTo>
                  <a:lnTo>
                    <a:pt x="3902076" y="881062"/>
                  </a:lnTo>
                  <a:lnTo>
                    <a:pt x="3948112" y="904874"/>
                  </a:lnTo>
                  <a:lnTo>
                    <a:pt x="3989388" y="935037"/>
                  </a:lnTo>
                  <a:lnTo>
                    <a:pt x="4019550" y="958849"/>
                  </a:lnTo>
                  <a:lnTo>
                    <a:pt x="4046538" y="982662"/>
                  </a:lnTo>
                  <a:lnTo>
                    <a:pt x="4070350" y="1009649"/>
                  </a:lnTo>
                  <a:lnTo>
                    <a:pt x="4094162" y="1039812"/>
                  </a:lnTo>
                  <a:lnTo>
                    <a:pt x="4117976" y="1068387"/>
                  </a:lnTo>
                  <a:lnTo>
                    <a:pt x="4138612" y="1101724"/>
                  </a:lnTo>
                  <a:lnTo>
                    <a:pt x="4179888" y="1169987"/>
                  </a:lnTo>
                  <a:lnTo>
                    <a:pt x="4216400" y="1243012"/>
                  </a:lnTo>
                  <a:lnTo>
                    <a:pt x="4249738" y="1319212"/>
                  </a:lnTo>
                  <a:lnTo>
                    <a:pt x="4278312" y="1400174"/>
                  </a:lnTo>
                  <a:lnTo>
                    <a:pt x="4305300" y="1484312"/>
                  </a:lnTo>
                  <a:lnTo>
                    <a:pt x="4329112" y="1568450"/>
                  </a:lnTo>
                  <a:lnTo>
                    <a:pt x="4352926" y="1654175"/>
                  </a:lnTo>
                  <a:lnTo>
                    <a:pt x="4395788" y="1824038"/>
                  </a:lnTo>
                  <a:lnTo>
                    <a:pt x="4433888" y="1989138"/>
                  </a:lnTo>
                  <a:lnTo>
                    <a:pt x="4451910" y="2059780"/>
                  </a:lnTo>
                  <a:lnTo>
                    <a:pt x="4606926" y="935037"/>
                  </a:lnTo>
                  <a:lnTo>
                    <a:pt x="4610100" y="919162"/>
                  </a:lnTo>
                  <a:lnTo>
                    <a:pt x="4616450" y="908049"/>
                  </a:lnTo>
                  <a:lnTo>
                    <a:pt x="4625976" y="898524"/>
                  </a:lnTo>
                  <a:lnTo>
                    <a:pt x="4633914" y="890587"/>
                  </a:lnTo>
                  <a:lnTo>
                    <a:pt x="4646614" y="881062"/>
                  </a:lnTo>
                  <a:lnTo>
                    <a:pt x="4657726" y="877887"/>
                  </a:lnTo>
                  <a:lnTo>
                    <a:pt x="4670426" y="874712"/>
                  </a:lnTo>
                  <a:lnTo>
                    <a:pt x="4684714" y="874712"/>
                  </a:lnTo>
                  <a:lnTo>
                    <a:pt x="4697414" y="877887"/>
                  </a:lnTo>
                  <a:lnTo>
                    <a:pt x="4708526" y="884237"/>
                  </a:lnTo>
                  <a:lnTo>
                    <a:pt x="4721226" y="892174"/>
                  </a:lnTo>
                  <a:lnTo>
                    <a:pt x="4729162" y="901699"/>
                  </a:lnTo>
                  <a:lnTo>
                    <a:pt x="4735514" y="914399"/>
                  </a:lnTo>
                  <a:lnTo>
                    <a:pt x="4738688" y="925512"/>
                  </a:lnTo>
                  <a:lnTo>
                    <a:pt x="4741862" y="938212"/>
                  </a:lnTo>
                  <a:lnTo>
                    <a:pt x="4741862" y="952499"/>
                  </a:lnTo>
                  <a:lnTo>
                    <a:pt x="4538662" y="2415850"/>
                  </a:lnTo>
                  <a:lnTo>
                    <a:pt x="4538662" y="3765551"/>
                  </a:lnTo>
                  <a:lnTo>
                    <a:pt x="4535488" y="3779838"/>
                  </a:lnTo>
                  <a:lnTo>
                    <a:pt x="4532314" y="3792538"/>
                  </a:lnTo>
                  <a:lnTo>
                    <a:pt x="4527550" y="3803651"/>
                  </a:lnTo>
                  <a:lnTo>
                    <a:pt x="4518026" y="3813176"/>
                  </a:lnTo>
                  <a:lnTo>
                    <a:pt x="4508500" y="3821113"/>
                  </a:lnTo>
                  <a:lnTo>
                    <a:pt x="4497388" y="3827463"/>
                  </a:lnTo>
                  <a:lnTo>
                    <a:pt x="4484688" y="3833813"/>
                  </a:lnTo>
                  <a:lnTo>
                    <a:pt x="4470400" y="3833813"/>
                  </a:lnTo>
                  <a:lnTo>
                    <a:pt x="4454526" y="3833813"/>
                  </a:lnTo>
                  <a:lnTo>
                    <a:pt x="4443414" y="3827463"/>
                  </a:lnTo>
                  <a:lnTo>
                    <a:pt x="4430714" y="3821113"/>
                  </a:lnTo>
                  <a:lnTo>
                    <a:pt x="4422776" y="3813176"/>
                  </a:lnTo>
                  <a:lnTo>
                    <a:pt x="4413250" y="3803651"/>
                  </a:lnTo>
                  <a:lnTo>
                    <a:pt x="4406900" y="3792538"/>
                  </a:lnTo>
                  <a:lnTo>
                    <a:pt x="4403726" y="3779838"/>
                  </a:lnTo>
                  <a:lnTo>
                    <a:pt x="4402138" y="3765551"/>
                  </a:lnTo>
                  <a:lnTo>
                    <a:pt x="4402138" y="2505075"/>
                  </a:lnTo>
                  <a:lnTo>
                    <a:pt x="4398962" y="2493962"/>
                  </a:lnTo>
                  <a:lnTo>
                    <a:pt x="4395788" y="2478087"/>
                  </a:lnTo>
                  <a:lnTo>
                    <a:pt x="4395788" y="2474913"/>
                  </a:lnTo>
                  <a:lnTo>
                    <a:pt x="4386264" y="2493963"/>
                  </a:lnTo>
                  <a:lnTo>
                    <a:pt x="4378326" y="2511425"/>
                  </a:lnTo>
                  <a:lnTo>
                    <a:pt x="4365626" y="2528888"/>
                  </a:lnTo>
                  <a:lnTo>
                    <a:pt x="4351338" y="2544763"/>
                  </a:lnTo>
                  <a:lnTo>
                    <a:pt x="4335464" y="2559050"/>
                  </a:lnTo>
                  <a:lnTo>
                    <a:pt x="4321176" y="2570163"/>
                  </a:lnTo>
                  <a:lnTo>
                    <a:pt x="4302126" y="2579688"/>
                  </a:lnTo>
                  <a:lnTo>
                    <a:pt x="4284664" y="2589213"/>
                  </a:lnTo>
                  <a:lnTo>
                    <a:pt x="4264026" y="2597150"/>
                  </a:lnTo>
                  <a:lnTo>
                    <a:pt x="4243388" y="2603500"/>
                  </a:lnTo>
                  <a:lnTo>
                    <a:pt x="4222750" y="2606675"/>
                  </a:lnTo>
                  <a:lnTo>
                    <a:pt x="3565526" y="2677005"/>
                  </a:lnTo>
                  <a:lnTo>
                    <a:pt x="3565526" y="3765551"/>
                  </a:lnTo>
                  <a:lnTo>
                    <a:pt x="3565526" y="3779838"/>
                  </a:lnTo>
                  <a:lnTo>
                    <a:pt x="3559176" y="3792538"/>
                  </a:lnTo>
                  <a:lnTo>
                    <a:pt x="3552826" y="3803651"/>
                  </a:lnTo>
                  <a:lnTo>
                    <a:pt x="3548064" y="3813176"/>
                  </a:lnTo>
                  <a:lnTo>
                    <a:pt x="3535364" y="3821113"/>
                  </a:lnTo>
                  <a:lnTo>
                    <a:pt x="3524250" y="3827463"/>
                  </a:lnTo>
                  <a:lnTo>
                    <a:pt x="3511550" y="3833813"/>
                  </a:lnTo>
                  <a:lnTo>
                    <a:pt x="3500438" y="3833813"/>
                  </a:lnTo>
                  <a:lnTo>
                    <a:pt x="3484564" y="3833813"/>
                  </a:lnTo>
                  <a:lnTo>
                    <a:pt x="3473450" y="3827463"/>
                  </a:lnTo>
                  <a:lnTo>
                    <a:pt x="3460750" y="3821113"/>
                  </a:lnTo>
                  <a:lnTo>
                    <a:pt x="3451226" y="3813176"/>
                  </a:lnTo>
                  <a:lnTo>
                    <a:pt x="3443288" y="3803651"/>
                  </a:lnTo>
                  <a:lnTo>
                    <a:pt x="3436938" y="3792538"/>
                  </a:lnTo>
                  <a:lnTo>
                    <a:pt x="3430588" y="3779838"/>
                  </a:lnTo>
                  <a:lnTo>
                    <a:pt x="3430588" y="3765551"/>
                  </a:lnTo>
                  <a:lnTo>
                    <a:pt x="3430588" y="2920423"/>
                  </a:lnTo>
                  <a:lnTo>
                    <a:pt x="3355976" y="3582988"/>
                  </a:lnTo>
                  <a:lnTo>
                    <a:pt x="3349626" y="3603625"/>
                  </a:lnTo>
                  <a:lnTo>
                    <a:pt x="3348038" y="3624263"/>
                  </a:lnTo>
                  <a:lnTo>
                    <a:pt x="3338514" y="3643313"/>
                  </a:lnTo>
                  <a:lnTo>
                    <a:pt x="3328988" y="3663950"/>
                  </a:lnTo>
                  <a:lnTo>
                    <a:pt x="3317876" y="3678238"/>
                  </a:lnTo>
                  <a:lnTo>
                    <a:pt x="3305176" y="3695700"/>
                  </a:lnTo>
                  <a:lnTo>
                    <a:pt x="3290888" y="3711575"/>
                  </a:lnTo>
                  <a:lnTo>
                    <a:pt x="3275014" y="3722688"/>
                  </a:lnTo>
                  <a:lnTo>
                    <a:pt x="3260726" y="3735388"/>
                  </a:lnTo>
                  <a:lnTo>
                    <a:pt x="3243262" y="3746500"/>
                  </a:lnTo>
                  <a:lnTo>
                    <a:pt x="3222626" y="3756025"/>
                  </a:lnTo>
                  <a:lnTo>
                    <a:pt x="3203576" y="3762375"/>
                  </a:lnTo>
                  <a:lnTo>
                    <a:pt x="3182938" y="3768725"/>
                  </a:lnTo>
                  <a:lnTo>
                    <a:pt x="3162300" y="3771900"/>
                  </a:lnTo>
                  <a:lnTo>
                    <a:pt x="3141662" y="3771900"/>
                  </a:lnTo>
                  <a:lnTo>
                    <a:pt x="3121026" y="3771900"/>
                  </a:lnTo>
                  <a:lnTo>
                    <a:pt x="3097214" y="3765550"/>
                  </a:lnTo>
                  <a:lnTo>
                    <a:pt x="3078162" y="3759200"/>
                  </a:lnTo>
                  <a:lnTo>
                    <a:pt x="3057526" y="3752850"/>
                  </a:lnTo>
                  <a:lnTo>
                    <a:pt x="3040062" y="3744913"/>
                  </a:lnTo>
                  <a:lnTo>
                    <a:pt x="3022600" y="3732213"/>
                  </a:lnTo>
                  <a:lnTo>
                    <a:pt x="3003550" y="3721100"/>
                  </a:lnTo>
                  <a:lnTo>
                    <a:pt x="2989263" y="3705225"/>
                  </a:lnTo>
                  <a:lnTo>
                    <a:pt x="2976563" y="3690938"/>
                  </a:lnTo>
                  <a:lnTo>
                    <a:pt x="2965450" y="3671888"/>
                  </a:lnTo>
                  <a:lnTo>
                    <a:pt x="2952750" y="3657600"/>
                  </a:lnTo>
                  <a:lnTo>
                    <a:pt x="2947988" y="3636963"/>
                  </a:lnTo>
                  <a:lnTo>
                    <a:pt x="2938463" y="3619500"/>
                  </a:lnTo>
                  <a:lnTo>
                    <a:pt x="2935288" y="3597275"/>
                  </a:lnTo>
                  <a:lnTo>
                    <a:pt x="2932113" y="3576638"/>
                  </a:lnTo>
                  <a:lnTo>
                    <a:pt x="2928938" y="3556000"/>
                  </a:lnTo>
                  <a:lnTo>
                    <a:pt x="2932113" y="3532188"/>
                  </a:lnTo>
                  <a:lnTo>
                    <a:pt x="3051176" y="2478087"/>
                  </a:lnTo>
                  <a:lnTo>
                    <a:pt x="3054350" y="2457450"/>
                  </a:lnTo>
                  <a:lnTo>
                    <a:pt x="3060700" y="2436812"/>
                  </a:lnTo>
                  <a:lnTo>
                    <a:pt x="3070226" y="2416175"/>
                  </a:lnTo>
                  <a:lnTo>
                    <a:pt x="3078162" y="2397125"/>
                  </a:lnTo>
                  <a:lnTo>
                    <a:pt x="3087688" y="2379662"/>
                  </a:lnTo>
                  <a:lnTo>
                    <a:pt x="3101976" y="2365375"/>
                  </a:lnTo>
                  <a:lnTo>
                    <a:pt x="3114676" y="2349500"/>
                  </a:lnTo>
                  <a:lnTo>
                    <a:pt x="3128962" y="2335212"/>
                  </a:lnTo>
                  <a:lnTo>
                    <a:pt x="3148014" y="2322512"/>
                  </a:lnTo>
                  <a:lnTo>
                    <a:pt x="3165476" y="2314575"/>
                  </a:lnTo>
                  <a:lnTo>
                    <a:pt x="3182938" y="2305050"/>
                  </a:lnTo>
                  <a:lnTo>
                    <a:pt x="3203576" y="2298700"/>
                  </a:lnTo>
                  <a:lnTo>
                    <a:pt x="3222626" y="2293937"/>
                  </a:lnTo>
                  <a:lnTo>
                    <a:pt x="3243262" y="2290762"/>
                  </a:lnTo>
                  <a:lnTo>
                    <a:pt x="3260726" y="2290762"/>
                  </a:lnTo>
                  <a:lnTo>
                    <a:pt x="3273426" y="2284412"/>
                  </a:lnTo>
                  <a:lnTo>
                    <a:pt x="3294064" y="2281237"/>
                  </a:lnTo>
                  <a:lnTo>
                    <a:pt x="3314700" y="2274887"/>
                  </a:lnTo>
                  <a:lnTo>
                    <a:pt x="3690474" y="2234675"/>
                  </a:lnTo>
                  <a:lnTo>
                    <a:pt x="3667126" y="2144713"/>
                  </a:lnTo>
                  <a:lnTo>
                    <a:pt x="3609976" y="1931988"/>
                  </a:lnTo>
                  <a:lnTo>
                    <a:pt x="3582988" y="1827213"/>
                  </a:lnTo>
                  <a:lnTo>
                    <a:pt x="3549650" y="1722437"/>
                  </a:lnTo>
                  <a:lnTo>
                    <a:pt x="3514726" y="1620837"/>
                  </a:lnTo>
                  <a:lnTo>
                    <a:pt x="3475038" y="1525587"/>
                  </a:lnTo>
                  <a:lnTo>
                    <a:pt x="3459802" y="1481266"/>
                  </a:lnTo>
                  <a:lnTo>
                    <a:pt x="3457576" y="1484313"/>
                  </a:lnTo>
                  <a:lnTo>
                    <a:pt x="3406776" y="1570038"/>
                  </a:lnTo>
                  <a:lnTo>
                    <a:pt x="3359150" y="1660525"/>
                  </a:lnTo>
                  <a:lnTo>
                    <a:pt x="3341750" y="1690108"/>
                  </a:lnTo>
                  <a:lnTo>
                    <a:pt x="3341688" y="1690688"/>
                  </a:lnTo>
                  <a:lnTo>
                    <a:pt x="3328988" y="1717675"/>
                  </a:lnTo>
                  <a:lnTo>
                    <a:pt x="3317876" y="1744663"/>
                  </a:lnTo>
                  <a:lnTo>
                    <a:pt x="3297238" y="1765300"/>
                  </a:lnTo>
                  <a:lnTo>
                    <a:pt x="3275014" y="1782763"/>
                  </a:lnTo>
                  <a:lnTo>
                    <a:pt x="3249614" y="1797050"/>
                  </a:lnTo>
                  <a:lnTo>
                    <a:pt x="3219450" y="1806575"/>
                  </a:lnTo>
                  <a:lnTo>
                    <a:pt x="2603954" y="1993900"/>
                  </a:lnTo>
                  <a:lnTo>
                    <a:pt x="2606676" y="1993900"/>
                  </a:lnTo>
                  <a:lnTo>
                    <a:pt x="2619376" y="1993900"/>
                  </a:lnTo>
                  <a:lnTo>
                    <a:pt x="2633663" y="2000250"/>
                  </a:lnTo>
                  <a:lnTo>
                    <a:pt x="2646363" y="2006600"/>
                  </a:lnTo>
                  <a:lnTo>
                    <a:pt x="2654300" y="2016125"/>
                  </a:lnTo>
                  <a:lnTo>
                    <a:pt x="2663826" y="2024063"/>
                  </a:lnTo>
                  <a:lnTo>
                    <a:pt x="2670176" y="2036763"/>
                  </a:lnTo>
                  <a:lnTo>
                    <a:pt x="2671763" y="2047875"/>
                  </a:lnTo>
                  <a:lnTo>
                    <a:pt x="2674938" y="2063751"/>
                  </a:lnTo>
                  <a:lnTo>
                    <a:pt x="2671763" y="2074863"/>
                  </a:lnTo>
                  <a:lnTo>
                    <a:pt x="2670176" y="2087563"/>
                  </a:lnTo>
                  <a:lnTo>
                    <a:pt x="2663826" y="2098676"/>
                  </a:lnTo>
                  <a:lnTo>
                    <a:pt x="2654300" y="2111375"/>
                  </a:lnTo>
                  <a:lnTo>
                    <a:pt x="3027362" y="2111375"/>
                  </a:lnTo>
                  <a:lnTo>
                    <a:pt x="3040062" y="2111375"/>
                  </a:lnTo>
                  <a:lnTo>
                    <a:pt x="3054350" y="2114550"/>
                  </a:lnTo>
                  <a:lnTo>
                    <a:pt x="3063876" y="2119313"/>
                  </a:lnTo>
                  <a:lnTo>
                    <a:pt x="3074988" y="2128838"/>
                  </a:lnTo>
                  <a:lnTo>
                    <a:pt x="3084514" y="2141538"/>
                  </a:lnTo>
                  <a:lnTo>
                    <a:pt x="3090862" y="2149475"/>
                  </a:lnTo>
                  <a:lnTo>
                    <a:pt x="3094038" y="2165350"/>
                  </a:lnTo>
                  <a:lnTo>
                    <a:pt x="3094038" y="2176463"/>
                  </a:lnTo>
                  <a:lnTo>
                    <a:pt x="3094038" y="2192338"/>
                  </a:lnTo>
                  <a:lnTo>
                    <a:pt x="3090862" y="2203450"/>
                  </a:lnTo>
                  <a:lnTo>
                    <a:pt x="3084514" y="2216150"/>
                  </a:lnTo>
                  <a:lnTo>
                    <a:pt x="3074988" y="2224088"/>
                  </a:lnTo>
                  <a:lnTo>
                    <a:pt x="3063876" y="2233613"/>
                  </a:lnTo>
                  <a:lnTo>
                    <a:pt x="3054350" y="2239963"/>
                  </a:lnTo>
                  <a:lnTo>
                    <a:pt x="3040062" y="2243138"/>
                  </a:lnTo>
                  <a:lnTo>
                    <a:pt x="3027362" y="2244725"/>
                  </a:lnTo>
                  <a:lnTo>
                    <a:pt x="2857501" y="2244725"/>
                  </a:lnTo>
                  <a:lnTo>
                    <a:pt x="2857501" y="3765551"/>
                  </a:lnTo>
                  <a:lnTo>
                    <a:pt x="2857501" y="3779838"/>
                  </a:lnTo>
                  <a:lnTo>
                    <a:pt x="2851151" y="3792538"/>
                  </a:lnTo>
                  <a:lnTo>
                    <a:pt x="2846388" y="3803651"/>
                  </a:lnTo>
                  <a:lnTo>
                    <a:pt x="2836863" y="3813176"/>
                  </a:lnTo>
                  <a:lnTo>
                    <a:pt x="2827338" y="3821113"/>
                  </a:lnTo>
                  <a:lnTo>
                    <a:pt x="2816226" y="3827463"/>
                  </a:lnTo>
                  <a:lnTo>
                    <a:pt x="2803526" y="3833813"/>
                  </a:lnTo>
                  <a:lnTo>
                    <a:pt x="2789238" y="3833813"/>
                  </a:lnTo>
                  <a:lnTo>
                    <a:pt x="2776538" y="3833813"/>
                  </a:lnTo>
                  <a:lnTo>
                    <a:pt x="2765426" y="3827463"/>
                  </a:lnTo>
                  <a:lnTo>
                    <a:pt x="2752726" y="3821113"/>
                  </a:lnTo>
                  <a:lnTo>
                    <a:pt x="2741613" y="3813176"/>
                  </a:lnTo>
                  <a:lnTo>
                    <a:pt x="2735263" y="3803651"/>
                  </a:lnTo>
                  <a:lnTo>
                    <a:pt x="2728913" y="3792538"/>
                  </a:lnTo>
                  <a:lnTo>
                    <a:pt x="2722563" y="3779838"/>
                  </a:lnTo>
                  <a:lnTo>
                    <a:pt x="2722563" y="3765551"/>
                  </a:lnTo>
                  <a:lnTo>
                    <a:pt x="2722563" y="2244725"/>
                  </a:lnTo>
                  <a:lnTo>
                    <a:pt x="274638" y="2244725"/>
                  </a:lnTo>
                  <a:lnTo>
                    <a:pt x="274638" y="3765551"/>
                  </a:lnTo>
                  <a:lnTo>
                    <a:pt x="271463" y="3779838"/>
                  </a:lnTo>
                  <a:lnTo>
                    <a:pt x="268288" y="3792538"/>
                  </a:lnTo>
                  <a:lnTo>
                    <a:pt x="263526" y="3803651"/>
                  </a:lnTo>
                  <a:lnTo>
                    <a:pt x="254000" y="3813176"/>
                  </a:lnTo>
                  <a:lnTo>
                    <a:pt x="244476" y="3821113"/>
                  </a:lnTo>
                  <a:lnTo>
                    <a:pt x="233363" y="3827463"/>
                  </a:lnTo>
                  <a:lnTo>
                    <a:pt x="217488" y="3833813"/>
                  </a:lnTo>
                  <a:lnTo>
                    <a:pt x="206376" y="3833813"/>
                  </a:lnTo>
                  <a:lnTo>
                    <a:pt x="190500" y="3833813"/>
                  </a:lnTo>
                  <a:lnTo>
                    <a:pt x="179388" y="3827463"/>
                  </a:lnTo>
                  <a:lnTo>
                    <a:pt x="166688" y="3821113"/>
                  </a:lnTo>
                  <a:lnTo>
                    <a:pt x="158750" y="3813176"/>
                  </a:lnTo>
                  <a:lnTo>
                    <a:pt x="149226" y="3803651"/>
                  </a:lnTo>
                  <a:lnTo>
                    <a:pt x="142876" y="3792538"/>
                  </a:lnTo>
                  <a:lnTo>
                    <a:pt x="139700" y="3779838"/>
                  </a:lnTo>
                  <a:lnTo>
                    <a:pt x="138113" y="3765551"/>
                  </a:lnTo>
                  <a:lnTo>
                    <a:pt x="138113" y="2244725"/>
                  </a:lnTo>
                  <a:lnTo>
                    <a:pt x="68263" y="2244725"/>
                  </a:lnTo>
                  <a:lnTo>
                    <a:pt x="53975" y="2243138"/>
                  </a:lnTo>
                  <a:lnTo>
                    <a:pt x="41275" y="2239963"/>
                  </a:lnTo>
                  <a:lnTo>
                    <a:pt x="30163" y="2233613"/>
                  </a:lnTo>
                  <a:lnTo>
                    <a:pt x="20638" y="2224088"/>
                  </a:lnTo>
                  <a:lnTo>
                    <a:pt x="12700" y="2216150"/>
                  </a:lnTo>
                  <a:lnTo>
                    <a:pt x="6350" y="2203450"/>
                  </a:lnTo>
                  <a:lnTo>
                    <a:pt x="0" y="2192338"/>
                  </a:lnTo>
                  <a:lnTo>
                    <a:pt x="0" y="2176463"/>
                  </a:lnTo>
                  <a:lnTo>
                    <a:pt x="0" y="2165350"/>
                  </a:lnTo>
                  <a:lnTo>
                    <a:pt x="6350" y="2149475"/>
                  </a:lnTo>
                  <a:lnTo>
                    <a:pt x="12700" y="2141538"/>
                  </a:lnTo>
                  <a:lnTo>
                    <a:pt x="20638" y="2128838"/>
                  </a:lnTo>
                  <a:lnTo>
                    <a:pt x="30163" y="2119313"/>
                  </a:lnTo>
                  <a:lnTo>
                    <a:pt x="41275" y="2114550"/>
                  </a:lnTo>
                  <a:lnTo>
                    <a:pt x="53975" y="2111375"/>
                  </a:lnTo>
                  <a:lnTo>
                    <a:pt x="68263" y="2111375"/>
                  </a:lnTo>
                  <a:lnTo>
                    <a:pt x="1738313" y="2111375"/>
                  </a:lnTo>
                  <a:lnTo>
                    <a:pt x="1731963" y="2098676"/>
                  </a:lnTo>
                  <a:lnTo>
                    <a:pt x="1722438" y="2087563"/>
                  </a:lnTo>
                  <a:lnTo>
                    <a:pt x="1719263" y="2074863"/>
                  </a:lnTo>
                  <a:lnTo>
                    <a:pt x="1719263" y="2063751"/>
                  </a:lnTo>
                  <a:lnTo>
                    <a:pt x="1719263" y="2062529"/>
                  </a:lnTo>
                  <a:lnTo>
                    <a:pt x="1690688" y="2057400"/>
                  </a:lnTo>
                  <a:lnTo>
                    <a:pt x="1677988" y="2051050"/>
                  </a:lnTo>
                  <a:lnTo>
                    <a:pt x="1666875" y="2039937"/>
                  </a:lnTo>
                  <a:lnTo>
                    <a:pt x="1639888" y="2009775"/>
                  </a:lnTo>
                  <a:lnTo>
                    <a:pt x="1617662" y="1970087"/>
                  </a:lnTo>
                  <a:lnTo>
                    <a:pt x="1597025" y="1928812"/>
                  </a:lnTo>
                  <a:lnTo>
                    <a:pt x="1565275" y="1854200"/>
                  </a:lnTo>
                  <a:lnTo>
                    <a:pt x="1552575" y="1820862"/>
                  </a:lnTo>
                  <a:lnTo>
                    <a:pt x="1484312" y="1576387"/>
                  </a:lnTo>
                  <a:lnTo>
                    <a:pt x="1444625" y="1443037"/>
                  </a:lnTo>
                  <a:lnTo>
                    <a:pt x="1412875" y="1311274"/>
                  </a:lnTo>
                  <a:lnTo>
                    <a:pt x="1385888" y="1192212"/>
                  </a:lnTo>
                  <a:lnTo>
                    <a:pt x="1373188" y="1138237"/>
                  </a:lnTo>
                  <a:lnTo>
                    <a:pt x="1366838" y="1090612"/>
                  </a:lnTo>
                  <a:lnTo>
                    <a:pt x="1365250" y="1047749"/>
                  </a:lnTo>
                  <a:lnTo>
                    <a:pt x="1365250" y="1015999"/>
                  </a:lnTo>
                  <a:lnTo>
                    <a:pt x="1370012" y="989012"/>
                  </a:lnTo>
                  <a:lnTo>
                    <a:pt x="1376362" y="979487"/>
                  </a:lnTo>
                  <a:lnTo>
                    <a:pt x="1379538" y="973137"/>
                  </a:lnTo>
                  <a:lnTo>
                    <a:pt x="1460500" y="935037"/>
                  </a:lnTo>
                  <a:lnTo>
                    <a:pt x="1738957" y="2015573"/>
                  </a:lnTo>
                  <a:lnTo>
                    <a:pt x="1749426" y="2006600"/>
                  </a:lnTo>
                  <a:lnTo>
                    <a:pt x="1758950" y="2000250"/>
                  </a:lnTo>
                  <a:lnTo>
                    <a:pt x="1773238" y="1993900"/>
                  </a:lnTo>
                  <a:lnTo>
                    <a:pt x="1785938" y="1993900"/>
                  </a:lnTo>
                  <a:lnTo>
                    <a:pt x="2264305" y="1993900"/>
                  </a:lnTo>
                  <a:lnTo>
                    <a:pt x="2257426" y="1985963"/>
                  </a:lnTo>
                  <a:lnTo>
                    <a:pt x="2244726" y="1958975"/>
                  </a:lnTo>
                  <a:lnTo>
                    <a:pt x="2236788" y="1928813"/>
                  </a:lnTo>
                  <a:lnTo>
                    <a:pt x="2233613" y="1898650"/>
                  </a:lnTo>
                  <a:lnTo>
                    <a:pt x="2236788" y="1868488"/>
                  </a:lnTo>
                  <a:lnTo>
                    <a:pt x="2244726" y="1839913"/>
                  </a:lnTo>
                  <a:lnTo>
                    <a:pt x="2260600" y="1812925"/>
                  </a:lnTo>
                  <a:lnTo>
                    <a:pt x="2278063" y="1792288"/>
                  </a:lnTo>
                  <a:lnTo>
                    <a:pt x="2301876" y="1773238"/>
                  </a:lnTo>
                  <a:lnTo>
                    <a:pt x="2328863" y="1758950"/>
                  </a:lnTo>
                  <a:lnTo>
                    <a:pt x="2359026" y="1749425"/>
                  </a:lnTo>
                  <a:lnTo>
                    <a:pt x="3084708" y="1528565"/>
                  </a:lnTo>
                  <a:lnTo>
                    <a:pt x="3311526" y="1152524"/>
                  </a:lnTo>
                  <a:lnTo>
                    <a:pt x="3349626" y="1084262"/>
                  </a:lnTo>
                  <a:lnTo>
                    <a:pt x="3368676" y="1050924"/>
                  </a:lnTo>
                  <a:lnTo>
                    <a:pt x="3389314" y="1017587"/>
                  </a:lnTo>
                  <a:lnTo>
                    <a:pt x="3413126" y="989012"/>
                  </a:lnTo>
                  <a:lnTo>
                    <a:pt x="3436938" y="958849"/>
                  </a:lnTo>
                  <a:lnTo>
                    <a:pt x="3467100" y="935037"/>
                  </a:lnTo>
                  <a:lnTo>
                    <a:pt x="3467392" y="934856"/>
                  </a:lnTo>
                  <a:lnTo>
                    <a:pt x="3475038" y="925512"/>
                  </a:lnTo>
                  <a:lnTo>
                    <a:pt x="3490912" y="911224"/>
                  </a:lnTo>
                  <a:lnTo>
                    <a:pt x="3505200" y="895349"/>
                  </a:lnTo>
                  <a:lnTo>
                    <a:pt x="3522244" y="882567"/>
                  </a:lnTo>
                  <a:lnTo>
                    <a:pt x="3517900" y="884237"/>
                  </a:lnTo>
                  <a:lnTo>
                    <a:pt x="3475038" y="895350"/>
                  </a:lnTo>
                  <a:lnTo>
                    <a:pt x="3433762" y="901700"/>
                  </a:lnTo>
                  <a:lnTo>
                    <a:pt x="3389314" y="908050"/>
                  </a:lnTo>
                  <a:lnTo>
                    <a:pt x="3344862" y="904875"/>
                  </a:lnTo>
                  <a:lnTo>
                    <a:pt x="3302000" y="901700"/>
                  </a:lnTo>
                  <a:lnTo>
                    <a:pt x="3257550" y="890587"/>
                  </a:lnTo>
                  <a:lnTo>
                    <a:pt x="3213100" y="877887"/>
                  </a:lnTo>
                  <a:lnTo>
                    <a:pt x="3171826" y="857250"/>
                  </a:lnTo>
                  <a:lnTo>
                    <a:pt x="3128962" y="836612"/>
                  </a:lnTo>
                  <a:lnTo>
                    <a:pt x="3094038" y="809625"/>
                  </a:lnTo>
                  <a:lnTo>
                    <a:pt x="3060700" y="779462"/>
                  </a:lnTo>
                  <a:lnTo>
                    <a:pt x="3030538" y="749300"/>
                  </a:lnTo>
                  <a:lnTo>
                    <a:pt x="3003550" y="714375"/>
                  </a:lnTo>
                  <a:lnTo>
                    <a:pt x="2979738" y="677862"/>
                  </a:lnTo>
                  <a:lnTo>
                    <a:pt x="2962276" y="639762"/>
                  </a:lnTo>
                  <a:lnTo>
                    <a:pt x="2944813" y="596900"/>
                  </a:lnTo>
                  <a:lnTo>
                    <a:pt x="2932113" y="555625"/>
                  </a:lnTo>
                  <a:lnTo>
                    <a:pt x="2925763" y="514350"/>
                  </a:lnTo>
                  <a:lnTo>
                    <a:pt x="2922588" y="468312"/>
                  </a:lnTo>
                  <a:lnTo>
                    <a:pt x="2922588" y="427037"/>
                  </a:lnTo>
                  <a:lnTo>
                    <a:pt x="2925763" y="382587"/>
                  </a:lnTo>
                  <a:lnTo>
                    <a:pt x="2938463" y="338137"/>
                  </a:lnTo>
                  <a:lnTo>
                    <a:pt x="2952750" y="292100"/>
                  </a:lnTo>
                  <a:lnTo>
                    <a:pt x="2971800" y="250825"/>
                  </a:lnTo>
                  <a:lnTo>
                    <a:pt x="2992438" y="212725"/>
                  </a:lnTo>
                  <a:lnTo>
                    <a:pt x="3019426" y="173037"/>
                  </a:lnTo>
                  <a:lnTo>
                    <a:pt x="3048000" y="141287"/>
                  </a:lnTo>
                  <a:lnTo>
                    <a:pt x="3078162" y="111125"/>
                  </a:lnTo>
                  <a:lnTo>
                    <a:pt x="3114676" y="84137"/>
                  </a:lnTo>
                  <a:lnTo>
                    <a:pt x="3149600" y="60325"/>
                  </a:lnTo>
                  <a:lnTo>
                    <a:pt x="3189288" y="41275"/>
                  </a:lnTo>
                  <a:lnTo>
                    <a:pt x="3230562" y="23812"/>
                  </a:lnTo>
                  <a:lnTo>
                    <a:pt x="3273426" y="12700"/>
                  </a:lnTo>
                  <a:lnTo>
                    <a:pt x="3314700" y="6350"/>
                  </a:lnTo>
                  <a:lnTo>
                    <a:pt x="3359150" y="0"/>
                  </a:lnTo>
                  <a:close/>
                </a:path>
              </a:pathLst>
            </a:custGeom>
            <a:solidFill>
              <a:srgbClr val="00B0F0"/>
            </a:solidFill>
            <a:ln w="1860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81280" tIns="40640" rIns="81280" bIns="4064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defTabSz="406390">
                <a:defRPr/>
              </a:pPr>
              <a:endParaRPr lang="zh-CN" altLang="en-US" sz="240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632E4A3B-E1F6-4048-BBC6-84FDD8AE88F8}"/>
                </a:ext>
              </a:extLst>
            </p:cNvPr>
            <p:cNvSpPr txBox="1"/>
            <p:nvPr/>
          </p:nvSpPr>
          <p:spPr>
            <a:xfrm>
              <a:off x="481084" y="5875596"/>
              <a:ext cx="11287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等线"/>
                  <a:ea typeface="等线" panose="02010600030101010101" pitchFamily="2" charset="-122"/>
                  <a:cs typeface="+mn-cs"/>
                </a:rPr>
                <a:t>接口开发人员</a:t>
              </a:r>
              <a:endParaRPr kumimoji="1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cxnSp>
          <p:nvCxnSpPr>
            <p:cNvPr id="52" name="直接箭头连接符 51">
              <a:extLst>
                <a:ext uri="{FF2B5EF4-FFF2-40B4-BE49-F238E27FC236}">
                  <a16:creationId xmlns:a16="http://schemas.microsoft.com/office/drawing/2014/main" id="{1FB58889-0977-4C3D-B7E2-8660EFC16ADD}"/>
                </a:ext>
              </a:extLst>
            </p:cNvPr>
            <p:cNvCxnSpPr>
              <a:cxnSpLocks/>
              <a:endCxn id="6" idx="1"/>
            </p:cNvCxnSpPr>
            <p:nvPr/>
          </p:nvCxnSpPr>
          <p:spPr>
            <a:xfrm>
              <a:off x="2730815" y="1794647"/>
              <a:ext cx="905712" cy="4650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5" name="矩形: 圆角 5">
              <a:extLst>
                <a:ext uri="{FF2B5EF4-FFF2-40B4-BE49-F238E27FC236}">
                  <a16:creationId xmlns:a16="http://schemas.microsoft.com/office/drawing/2014/main" id="{1F6C6886-AFBD-4DB3-B30A-B0A808DD052B}"/>
                </a:ext>
              </a:extLst>
            </p:cNvPr>
            <p:cNvSpPr/>
            <p:nvPr/>
          </p:nvSpPr>
          <p:spPr>
            <a:xfrm>
              <a:off x="3636527" y="3361171"/>
              <a:ext cx="711324" cy="1105884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获取接口返回值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</p:txBody>
        </p:sp>
        <p:cxnSp>
          <p:nvCxnSpPr>
            <p:cNvPr id="68" name="直接箭头连接符 67">
              <a:extLst>
                <a:ext uri="{FF2B5EF4-FFF2-40B4-BE49-F238E27FC236}">
                  <a16:creationId xmlns:a16="http://schemas.microsoft.com/office/drawing/2014/main" id="{1FB58889-0977-4C3D-B7E2-8660EFC16ADD}"/>
                </a:ext>
              </a:extLst>
            </p:cNvPr>
            <p:cNvCxnSpPr>
              <a:cxnSpLocks/>
              <a:stCxn id="65" idx="0"/>
              <a:endCxn id="6" idx="2"/>
            </p:cNvCxnSpPr>
            <p:nvPr/>
          </p:nvCxnSpPr>
          <p:spPr>
            <a:xfrm flipV="1">
              <a:off x="3992189" y="2155489"/>
              <a:ext cx="0" cy="1205682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54" name="直接箭头连接符 153">
              <a:extLst>
                <a:ext uri="{FF2B5EF4-FFF2-40B4-BE49-F238E27FC236}">
                  <a16:creationId xmlns:a16="http://schemas.microsoft.com/office/drawing/2014/main" id="{1FB58889-0977-4C3D-B7E2-8660EFC16ADD}"/>
                </a:ext>
              </a:extLst>
            </p:cNvPr>
            <p:cNvCxnSpPr>
              <a:cxnSpLocks/>
              <a:stCxn id="65" idx="3"/>
              <a:endCxn id="11" idx="1"/>
            </p:cNvCxnSpPr>
            <p:nvPr/>
          </p:nvCxnSpPr>
          <p:spPr>
            <a:xfrm flipV="1">
              <a:off x="4347851" y="3909914"/>
              <a:ext cx="604724" cy="4199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92" name="标题 3">
            <a:extLst>
              <a:ext uri="{FF2B5EF4-FFF2-40B4-BE49-F238E27FC236}">
                <a16:creationId xmlns:a16="http://schemas.microsoft.com/office/drawing/2014/main" id="{46FD2670-3ED7-4DED-8AFC-C3F69F6DF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24785"/>
            <a:ext cx="5087648" cy="835022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自动化测试解耦</a:t>
            </a:r>
            <a:r>
              <a:rPr lang="en-US" altLang="zh-CN" dirty="0" smtClean="0"/>
              <a:t>--</a:t>
            </a:r>
            <a:r>
              <a:rPr lang="zh-CN" altLang="en-US" dirty="0" smtClean="0"/>
              <a:t>解析研判工具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7195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标题 3">
            <a:extLst>
              <a:ext uri="{FF2B5EF4-FFF2-40B4-BE49-F238E27FC236}">
                <a16:creationId xmlns:a16="http://schemas.microsoft.com/office/drawing/2014/main" id="{46FD2670-3ED7-4DED-8AFC-C3F69F6DF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24785"/>
            <a:ext cx="5472112" cy="835022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自动化</a:t>
            </a:r>
            <a:r>
              <a:rPr lang="zh-CN" altLang="en-US" dirty="0" smtClean="0"/>
              <a:t>测试工具</a:t>
            </a:r>
            <a:r>
              <a:rPr lang="en-US" altLang="zh-CN" dirty="0" smtClean="0"/>
              <a:t>-</a:t>
            </a:r>
            <a:r>
              <a:rPr lang="zh-CN" altLang="en-US" dirty="0" smtClean="0"/>
              <a:t>问答结果相似度测试</a:t>
            </a:r>
            <a:endParaRPr lang="zh-CN" altLang="en-US" dirty="0"/>
          </a:p>
        </p:txBody>
      </p:sp>
      <p:sp>
        <p:nvSpPr>
          <p:cNvPr id="40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1770674" y="1375234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获取扩展问题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43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329766" y="1835870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问答接口</a:t>
            </a:r>
            <a:endParaRPr kumimoji="1" lang="en-US" altLang="zh-CN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问题答案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45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329766" y="5177951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计算</a:t>
            </a:r>
            <a:endParaRPr kumimoji="1" lang="en-US" altLang="zh-CN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向量夹角余弦值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47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329766" y="4390615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单词向量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3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4187913" y="3598408"/>
            <a:ext cx="1177200" cy="422869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构建频数表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4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2474773" y="3556876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构建频率表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5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329766" y="5953694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相似性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6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329766" y="2764670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提取实意词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7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1770674" y="2300270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标准问题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58" name="肘形连接符 57">
            <a:extLst>
              <a:ext uri="{FF2B5EF4-FFF2-40B4-BE49-F238E27FC236}">
                <a16:creationId xmlns:a16="http://schemas.microsoft.com/office/drawing/2014/main" id="{25B1F70B-BFC5-8B4B-986C-A63C00447EB2}"/>
              </a:ext>
            </a:extLst>
          </p:cNvPr>
          <p:cNvCxnSpPr>
            <a:cxnSpLocks/>
            <a:stCxn id="43" idx="1"/>
            <a:endCxn id="40" idx="2"/>
          </p:cNvCxnSpPr>
          <p:nvPr/>
        </p:nvCxnSpPr>
        <p:spPr>
          <a:xfrm rot="10800000">
            <a:off x="2359274" y="1839634"/>
            <a:ext cx="970492" cy="228436"/>
          </a:xfrm>
          <a:prstGeom prst="bentConnector2">
            <a:avLst/>
          </a:prstGeom>
          <a:ln w="15875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43" idx="2"/>
            <a:endCxn id="56" idx="0"/>
          </p:cNvCxnSpPr>
          <p:nvPr/>
        </p:nvCxnSpPr>
        <p:spPr>
          <a:xfrm>
            <a:off x="3918366" y="2300270"/>
            <a:ext cx="0" cy="46440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肘形连接符 59">
            <a:extLst>
              <a:ext uri="{FF2B5EF4-FFF2-40B4-BE49-F238E27FC236}">
                <a16:creationId xmlns:a16="http://schemas.microsoft.com/office/drawing/2014/main" id="{25B1F70B-BFC5-8B4B-986C-A63C00447EB2}"/>
              </a:ext>
            </a:extLst>
          </p:cNvPr>
          <p:cNvCxnSpPr>
            <a:cxnSpLocks/>
            <a:stCxn id="43" idx="1"/>
            <a:endCxn id="57" idx="0"/>
          </p:cNvCxnSpPr>
          <p:nvPr/>
        </p:nvCxnSpPr>
        <p:spPr>
          <a:xfrm rot="10800000" flipV="1">
            <a:off x="2359274" y="2068070"/>
            <a:ext cx="970492" cy="232200"/>
          </a:xfrm>
          <a:prstGeom prst="bentConnector2">
            <a:avLst/>
          </a:prstGeom>
          <a:ln w="15875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6" idx="2"/>
            <a:endCxn id="53" idx="0"/>
          </p:cNvCxnSpPr>
          <p:nvPr/>
        </p:nvCxnSpPr>
        <p:spPr>
          <a:xfrm>
            <a:off x="3918366" y="3229070"/>
            <a:ext cx="858147" cy="369338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6" idx="2"/>
            <a:endCxn id="54" idx="0"/>
          </p:cNvCxnSpPr>
          <p:nvPr/>
        </p:nvCxnSpPr>
        <p:spPr>
          <a:xfrm flipH="1">
            <a:off x="3063373" y="3229070"/>
            <a:ext cx="854993" cy="32780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3" idx="2"/>
            <a:endCxn id="47" idx="0"/>
          </p:cNvCxnSpPr>
          <p:nvPr/>
        </p:nvCxnSpPr>
        <p:spPr>
          <a:xfrm flipH="1">
            <a:off x="3918366" y="4021277"/>
            <a:ext cx="858147" cy="369338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4" idx="2"/>
            <a:endCxn id="47" idx="0"/>
          </p:cNvCxnSpPr>
          <p:nvPr/>
        </p:nvCxnSpPr>
        <p:spPr>
          <a:xfrm>
            <a:off x="3063373" y="4021276"/>
            <a:ext cx="854993" cy="369339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47" idx="2"/>
            <a:endCxn id="45" idx="0"/>
          </p:cNvCxnSpPr>
          <p:nvPr/>
        </p:nvCxnSpPr>
        <p:spPr>
          <a:xfrm>
            <a:off x="3918366" y="4855015"/>
            <a:ext cx="0" cy="32293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45" idx="2"/>
            <a:endCxn id="55" idx="0"/>
          </p:cNvCxnSpPr>
          <p:nvPr/>
        </p:nvCxnSpPr>
        <p:spPr>
          <a:xfrm>
            <a:off x="3918366" y="5642351"/>
            <a:ext cx="0" cy="311343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5206781" y="2764670"/>
            <a:ext cx="1177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标准答案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88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83" idx="1"/>
            <a:endCxn id="56" idx="3"/>
          </p:cNvCxnSpPr>
          <p:nvPr/>
        </p:nvCxnSpPr>
        <p:spPr>
          <a:xfrm flipH="1">
            <a:off x="4506966" y="2996870"/>
            <a:ext cx="699815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964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标题 3">
            <a:extLst>
              <a:ext uri="{FF2B5EF4-FFF2-40B4-BE49-F238E27FC236}">
                <a16:creationId xmlns:a16="http://schemas.microsoft.com/office/drawing/2014/main" id="{46FD2670-3ED7-4DED-8AFC-C3F69F6DF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24785"/>
            <a:ext cx="5472112" cy="835022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自动化</a:t>
            </a:r>
            <a:r>
              <a:rPr lang="zh-CN" altLang="en-US" dirty="0" smtClean="0"/>
              <a:t>测试工具</a:t>
            </a:r>
            <a:r>
              <a:rPr lang="en-US" altLang="zh-CN" dirty="0" smtClean="0"/>
              <a:t>-</a:t>
            </a:r>
            <a:r>
              <a:rPr lang="zh-CN" altLang="en-US" dirty="0" smtClean="0"/>
              <a:t>问答结果相似度测试</a:t>
            </a:r>
            <a:endParaRPr lang="zh-CN" altLang="en-US" dirty="0"/>
          </a:p>
        </p:txBody>
      </p:sp>
      <p:sp>
        <p:nvSpPr>
          <p:cNvPr id="45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9268086" y="209386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计算向量</a:t>
            </a:r>
            <a:endParaRPr kumimoji="1" lang="en-US" altLang="zh-CN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夹角余弦值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47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7784130" y="209386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单词向量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3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5853525" y="1631596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构建频数表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4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5845320" y="255826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构建频率表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55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10752042" y="209386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相似性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64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104" idx="3"/>
            <a:endCxn id="54" idx="1"/>
          </p:cNvCxnSpPr>
          <p:nvPr/>
        </p:nvCxnSpPr>
        <p:spPr>
          <a:xfrm>
            <a:off x="4783398" y="2326060"/>
            <a:ext cx="1061922" cy="46440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104" idx="3"/>
            <a:endCxn id="53" idx="1"/>
          </p:cNvCxnSpPr>
          <p:nvPr/>
        </p:nvCxnSpPr>
        <p:spPr>
          <a:xfrm flipV="1">
            <a:off x="4783398" y="1863796"/>
            <a:ext cx="1070127" cy="462264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3" idx="3"/>
            <a:endCxn id="47" idx="1"/>
          </p:cNvCxnSpPr>
          <p:nvPr/>
        </p:nvCxnSpPr>
        <p:spPr>
          <a:xfrm>
            <a:off x="6814725" y="1863796"/>
            <a:ext cx="969405" cy="462264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54" idx="3"/>
            <a:endCxn id="47" idx="1"/>
          </p:cNvCxnSpPr>
          <p:nvPr/>
        </p:nvCxnSpPr>
        <p:spPr>
          <a:xfrm flipV="1">
            <a:off x="6806520" y="2326060"/>
            <a:ext cx="977610" cy="46440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47" idx="3"/>
            <a:endCxn id="45" idx="1"/>
          </p:cNvCxnSpPr>
          <p:nvPr/>
        </p:nvCxnSpPr>
        <p:spPr>
          <a:xfrm>
            <a:off x="8745330" y="2326060"/>
            <a:ext cx="522756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45" idx="3"/>
            <a:endCxn id="55" idx="1"/>
          </p:cNvCxnSpPr>
          <p:nvPr/>
        </p:nvCxnSpPr>
        <p:spPr>
          <a:xfrm>
            <a:off x="10229286" y="2326060"/>
            <a:ext cx="522756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2170056" y="3328384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标准问题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92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247656" y="3328384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获取扩展问题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93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91" idx="1"/>
            <a:endCxn id="92" idx="3"/>
          </p:cNvCxnSpPr>
          <p:nvPr/>
        </p:nvCxnSpPr>
        <p:spPr>
          <a:xfrm flipH="1">
            <a:off x="1208856" y="3560584"/>
            <a:ext cx="961200" cy="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1208856" y="209477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问答接口</a:t>
            </a:r>
            <a:endParaRPr kumimoji="1" lang="en-US" altLang="zh-CN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获取答案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97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92" idx="0"/>
            <a:endCxn id="96" idx="2"/>
          </p:cNvCxnSpPr>
          <p:nvPr/>
        </p:nvCxnSpPr>
        <p:spPr>
          <a:xfrm flipV="1">
            <a:off x="728256" y="2559170"/>
            <a:ext cx="961200" cy="769214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91" idx="0"/>
            <a:endCxn id="96" idx="2"/>
          </p:cNvCxnSpPr>
          <p:nvPr/>
        </p:nvCxnSpPr>
        <p:spPr>
          <a:xfrm flipH="1" flipV="1">
            <a:off x="1689456" y="2559170"/>
            <a:ext cx="961200" cy="769214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831899" y="1322194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标准答案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sp>
        <p:nvSpPr>
          <p:cNvPr id="104" name="矩形: 圆角 5">
            <a:extLst>
              <a:ext uri="{FF2B5EF4-FFF2-40B4-BE49-F238E27FC236}">
                <a16:creationId xmlns:a16="http://schemas.microsoft.com/office/drawing/2014/main" id="{1F6C6886-AFBD-4DB3-B30A-B0A808DD052B}"/>
              </a:ext>
            </a:extLst>
          </p:cNvPr>
          <p:cNvSpPr/>
          <p:nvPr/>
        </p:nvSpPr>
        <p:spPr>
          <a:xfrm>
            <a:off x="3822198" y="2093860"/>
            <a:ext cx="961200" cy="464400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rPr>
              <a:t>提取实意词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Microsoft YaHei Light"/>
            </a:endParaRPr>
          </a:p>
        </p:txBody>
      </p:sp>
      <p:cxnSp>
        <p:nvCxnSpPr>
          <p:cNvPr id="105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103" idx="2"/>
            <a:endCxn id="104" idx="0"/>
          </p:cNvCxnSpPr>
          <p:nvPr/>
        </p:nvCxnSpPr>
        <p:spPr>
          <a:xfrm flipH="1">
            <a:off x="4302798" y="1786594"/>
            <a:ext cx="9701" cy="307266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直线箭头连接符 16">
            <a:extLst>
              <a:ext uri="{FF2B5EF4-FFF2-40B4-BE49-F238E27FC236}">
                <a16:creationId xmlns:a16="http://schemas.microsoft.com/office/drawing/2014/main" id="{9BCF1928-2E79-C645-A680-009981D9928D}"/>
              </a:ext>
            </a:extLst>
          </p:cNvPr>
          <p:cNvCxnSpPr>
            <a:stCxn id="96" idx="3"/>
            <a:endCxn id="104" idx="1"/>
          </p:cNvCxnSpPr>
          <p:nvPr/>
        </p:nvCxnSpPr>
        <p:spPr>
          <a:xfrm flipV="1">
            <a:off x="2170056" y="2326060"/>
            <a:ext cx="1652142" cy="910"/>
          </a:xfrm>
          <a:prstGeom prst="straightConnector1">
            <a:avLst/>
          </a:prstGeom>
          <a:ln w="158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7725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问题解决逻辑举例</a:t>
            </a:r>
            <a:endParaRPr lang="zh-CN" altLang="en-US" dirty="0"/>
          </a:p>
        </p:txBody>
      </p:sp>
      <p:grpSp>
        <p:nvGrpSpPr>
          <p:cNvPr id="14" name="组合 13"/>
          <p:cNvGrpSpPr/>
          <p:nvPr/>
        </p:nvGrpSpPr>
        <p:grpSpPr>
          <a:xfrm>
            <a:off x="435306" y="1953133"/>
            <a:ext cx="11409032" cy="2817783"/>
            <a:chOff x="572374" y="1381633"/>
            <a:chExt cx="11409032" cy="2817783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2374" y="1381633"/>
              <a:ext cx="3748087" cy="2758169"/>
            </a:xfrm>
            <a:prstGeom prst="rect">
              <a:avLst/>
            </a:prstGeom>
          </p:spPr>
        </p:pic>
        <p:sp>
          <p:nvSpPr>
            <p:cNvPr id="6" name="右箭头 5"/>
            <p:cNvSpPr/>
            <p:nvPr/>
          </p:nvSpPr>
          <p:spPr>
            <a:xfrm>
              <a:off x="3294262" y="2645105"/>
              <a:ext cx="756655" cy="315831"/>
            </a:xfrm>
            <a:prstGeom prst="rightArrow">
              <a:avLst/>
            </a:prstGeom>
            <a:solidFill>
              <a:srgbClr val="00B0F0"/>
            </a:solidFill>
            <a:ln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zh-CN" altLang="en-US" sz="1100" noProof="0" dirty="0">
                <a:solidFill>
                  <a:schemeClr val="tx1"/>
                </a:solidFill>
                <a:latin typeface="幼圆" panose="02010509060101010101" pitchFamily="49" charset="-122"/>
                <a:ea typeface="幼圆" panose="02010509060101010101" pitchFamily="49" charset="-122"/>
              </a:endParaRPr>
            </a:p>
          </p:txBody>
        </p:sp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65260" y="1547668"/>
              <a:ext cx="2816146" cy="2426098"/>
            </a:xfrm>
            <a:prstGeom prst="rect">
              <a:avLst/>
            </a:prstGeom>
          </p:spPr>
        </p:pic>
        <p:sp>
          <p:nvSpPr>
            <p:cNvPr id="11" name="文本框 10"/>
            <p:cNvSpPr txBox="1"/>
            <p:nvPr/>
          </p:nvSpPr>
          <p:spPr>
            <a:xfrm>
              <a:off x="10896898" y="2252885"/>
              <a:ext cx="461665" cy="1015663"/>
            </a:xfrm>
            <a:prstGeom prst="rect">
              <a:avLst/>
            </a:prstGeom>
            <a:noFill/>
          </p:spPr>
          <p:txBody>
            <a:bodyPr vert="eaVert" wrap="none" rtlCol="0">
              <a:spAutoFit/>
            </a:bodyPr>
            <a:lstStyle/>
            <a:p>
              <a:r>
                <a:rPr lang="zh-CN" altLang="en-US" dirty="0" smtClean="0"/>
                <a:t>配置目标</a:t>
              </a:r>
              <a:endParaRPr lang="zh-CN" altLang="en-US" dirty="0"/>
            </a:p>
          </p:txBody>
        </p:sp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08104" y="1406623"/>
              <a:ext cx="3912858" cy="2792793"/>
            </a:xfrm>
            <a:prstGeom prst="rect">
              <a:avLst/>
            </a:prstGeom>
          </p:spPr>
        </p:pic>
        <p:sp>
          <p:nvSpPr>
            <p:cNvPr id="13" name="右箭头 12"/>
            <p:cNvSpPr/>
            <p:nvPr/>
          </p:nvSpPr>
          <p:spPr>
            <a:xfrm rot="10800000">
              <a:off x="8408605" y="2645105"/>
              <a:ext cx="756655" cy="315831"/>
            </a:xfrm>
            <a:prstGeom prst="rightArrow">
              <a:avLst/>
            </a:prstGeom>
            <a:solidFill>
              <a:srgbClr val="00B0F0"/>
            </a:solidFill>
            <a:ln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zh-CN" altLang="en-US" sz="1100" noProof="0" dirty="0">
                <a:solidFill>
                  <a:schemeClr val="tx1"/>
                </a:solidFill>
                <a:latin typeface="幼圆" panose="02010509060101010101" pitchFamily="49" charset="-122"/>
                <a:ea typeface="幼圆" panose="02010509060101010101" pitchFamily="49" charset="-122"/>
              </a:endParaRPr>
            </a:p>
          </p:txBody>
        </p:sp>
      </p:grpSp>
      <p:sp>
        <p:nvSpPr>
          <p:cNvPr id="15" name="文本框 14"/>
          <p:cNvSpPr txBox="1"/>
          <p:nvPr/>
        </p:nvSpPr>
        <p:spPr>
          <a:xfrm>
            <a:off x="435306" y="5139748"/>
            <a:ext cx="1110899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 smtClean="0"/>
              <a:t>后期规划：</a:t>
            </a:r>
            <a:endParaRPr lang="en-US" altLang="zh-CN" sz="1400" b="1" dirty="0" smtClean="0"/>
          </a:p>
          <a:p>
            <a:pPr>
              <a:lnSpc>
                <a:spcPct val="150000"/>
              </a:lnSpc>
            </a:pPr>
            <a:r>
              <a:rPr lang="zh-CN" altLang="en-US" sz="1400" dirty="0" smtClean="0"/>
              <a:t>（</a:t>
            </a:r>
            <a:r>
              <a:rPr lang="en-US" altLang="zh-CN" sz="1400" dirty="0" smtClean="0"/>
              <a:t>1</a:t>
            </a:r>
            <a:r>
              <a:rPr lang="zh-CN" altLang="en-US" sz="1400" dirty="0" smtClean="0"/>
              <a:t>）实现配置文件为  </a:t>
            </a:r>
            <a:r>
              <a:rPr lang="en-US" altLang="zh-CN" sz="1400" dirty="0" smtClean="0"/>
              <a:t>(</a:t>
            </a:r>
            <a:r>
              <a:rPr lang="en-US" altLang="zh-CN" sz="1400" dirty="0" err="1" smtClean="0"/>
              <a:t>suceess</a:t>
            </a:r>
            <a:r>
              <a:rPr lang="en-US" altLang="zh-CN" sz="1400" dirty="0" smtClean="0"/>
              <a:t> = true  and </a:t>
            </a:r>
            <a:r>
              <a:rPr lang="en-US" altLang="zh-CN" sz="1400" dirty="0" err="1" smtClean="0"/>
              <a:t>data.total</a:t>
            </a:r>
            <a:r>
              <a:rPr lang="en-US" altLang="zh-CN" sz="1400" dirty="0" smtClean="0"/>
              <a:t> &gt; 1 )  or  (</a:t>
            </a:r>
            <a:r>
              <a:rPr lang="en-US" altLang="zh-CN" sz="1400" dirty="0" err="1"/>
              <a:t>suceess</a:t>
            </a:r>
            <a:r>
              <a:rPr lang="en-US" altLang="zh-CN" sz="1400" dirty="0"/>
              <a:t> = </a:t>
            </a:r>
            <a:r>
              <a:rPr lang="en-US" altLang="zh-CN" sz="1400" dirty="0" smtClean="0"/>
              <a:t>false  </a:t>
            </a:r>
            <a:r>
              <a:rPr lang="en-US" altLang="zh-CN" sz="1400" dirty="0"/>
              <a:t>and </a:t>
            </a:r>
            <a:r>
              <a:rPr lang="en-US" altLang="zh-CN" sz="1400" dirty="0" err="1" smtClean="0"/>
              <a:t>data.total</a:t>
            </a:r>
            <a:r>
              <a:rPr lang="en-US" altLang="zh-CN" sz="1400" dirty="0" smtClean="0"/>
              <a:t> = 0 ) </a:t>
            </a:r>
            <a:r>
              <a:rPr lang="zh-CN" altLang="en-US" sz="1400" dirty="0" smtClean="0"/>
              <a:t>类似</a:t>
            </a:r>
            <a:r>
              <a:rPr lang="en-US" altLang="zh-CN" sz="1400" dirty="0" err="1" smtClean="0"/>
              <a:t>sql</a:t>
            </a:r>
            <a:r>
              <a:rPr lang="zh-CN" altLang="en-US" sz="1400" dirty="0" smtClean="0"/>
              <a:t>表达式的接口测试结果比对逻辑</a:t>
            </a:r>
            <a:endParaRPr lang="en-US" altLang="zh-CN" sz="1400" dirty="0" smtClean="0"/>
          </a:p>
          <a:p>
            <a:pPr>
              <a:lnSpc>
                <a:spcPct val="150000"/>
              </a:lnSpc>
            </a:pPr>
            <a:r>
              <a:rPr lang="zh-CN" altLang="en-US" sz="1400" dirty="0" smtClean="0"/>
              <a:t>（</a:t>
            </a:r>
            <a:r>
              <a:rPr lang="en-US" altLang="zh-CN" sz="1400" dirty="0" smtClean="0"/>
              <a:t>2</a:t>
            </a:r>
            <a:r>
              <a:rPr lang="zh-CN" altLang="en-US" sz="1400" dirty="0" smtClean="0"/>
              <a:t>）以</a:t>
            </a:r>
            <a:r>
              <a:rPr lang="en-US" altLang="zh-CN" sz="1400" dirty="0" err="1" smtClean="0"/>
              <a:t>vue</a:t>
            </a:r>
            <a:r>
              <a:rPr lang="zh-CN" altLang="en-US" sz="1400" dirty="0" smtClean="0"/>
              <a:t>技术栈实现页面配置，更大幅度降低接口测试能力难度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7925587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5"/>
          <p:cNvSpPr>
            <a:spLocks noGrp="1"/>
          </p:cNvSpPr>
          <p:nvPr>
            <p:ph sz="quarter" idx="10"/>
          </p:nvPr>
        </p:nvSpPr>
        <p:spPr>
          <a:xfrm>
            <a:off x="535276" y="428984"/>
            <a:ext cx="11314979" cy="424732"/>
          </a:xfrm>
        </p:spPr>
        <p:txBody>
          <a:bodyPr/>
          <a:lstStyle/>
          <a:p>
            <a:r>
              <a:rPr lang="en-US" altLang="zh-CN" sz="2400" dirty="0">
                <a:solidFill>
                  <a:srgbClr val="05A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en-US" altLang="zh-CN" sz="2400" dirty="0" smtClean="0">
                <a:solidFill>
                  <a:srgbClr val="05A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en-US" altLang="zh-CN" sz="2400" dirty="0">
                <a:solidFill>
                  <a:srgbClr val="05A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4</a:t>
            </a:r>
            <a:r>
              <a:rPr lang="zh-CN" altLang="en-US" sz="2400" dirty="0">
                <a:solidFill>
                  <a:srgbClr val="05A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度业务开展所需支持与配合</a:t>
            </a:r>
          </a:p>
        </p:txBody>
      </p:sp>
      <p:sp>
        <p:nvSpPr>
          <p:cNvPr id="31" name="圆角矩形 30"/>
          <p:cNvSpPr/>
          <p:nvPr/>
        </p:nvSpPr>
        <p:spPr>
          <a:xfrm>
            <a:off x="3703355" y="1436315"/>
            <a:ext cx="7343336" cy="814671"/>
          </a:xfrm>
          <a:prstGeom prst="roundRect">
            <a:avLst/>
          </a:prstGeom>
          <a:ln>
            <a:noFill/>
          </a:ln>
        </p:spPr>
        <p:txBody>
          <a:bodyPr wrap="none" lIns="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1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完成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toC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到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toB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视角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转换          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2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实现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从接受者到多角色协同者的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角色蜕变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33" name="圆角矩形 32"/>
          <p:cNvSpPr/>
          <p:nvPr/>
        </p:nvSpPr>
        <p:spPr>
          <a:xfrm>
            <a:off x="3703353" y="3759575"/>
            <a:ext cx="7343337" cy="844705"/>
          </a:xfrm>
          <a:prstGeom prst="roundRect">
            <a:avLst/>
          </a:prstGeom>
          <a:ln>
            <a:noFill/>
          </a:ln>
        </p:spPr>
        <p:txBody>
          <a:bodyPr wrap="square" lIns="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1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夯实产品质量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	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		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2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建设专项测试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3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提升人效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</p:txBody>
      </p:sp>
      <p:cxnSp>
        <p:nvCxnSpPr>
          <p:cNvPr id="38" name="直接连接符 37"/>
          <p:cNvCxnSpPr/>
          <p:nvPr/>
        </p:nvCxnSpPr>
        <p:spPr>
          <a:xfrm flipV="1">
            <a:off x="3703355" y="2250986"/>
            <a:ext cx="7343337" cy="14661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组合 41"/>
          <p:cNvGrpSpPr/>
          <p:nvPr/>
        </p:nvGrpSpPr>
        <p:grpSpPr>
          <a:xfrm>
            <a:off x="728292" y="1527342"/>
            <a:ext cx="2642673" cy="757238"/>
            <a:chOff x="182565" y="3144836"/>
            <a:chExt cx="4438651" cy="1009650"/>
          </a:xfrm>
        </p:grpSpPr>
        <p:sp>
          <p:nvSpPr>
            <p:cNvPr id="43" name="MH_Other_1"/>
            <p:cNvSpPr/>
            <p:nvPr>
              <p:custDataLst>
                <p:tags r:id="rId9"/>
              </p:custDataLst>
            </p:nvPr>
          </p:nvSpPr>
          <p:spPr>
            <a:xfrm rot="16200000">
              <a:off x="-211135" y="3557586"/>
              <a:ext cx="973138" cy="185738"/>
            </a:xfrm>
            <a:custGeom>
              <a:avLst/>
              <a:gdLst>
                <a:gd name="connsiteX0" fmla="*/ 108000 w 972394"/>
                <a:gd name="connsiteY0" fmla="*/ 0 h 185738"/>
                <a:gd name="connsiteX1" fmla="*/ 108000 w 972394"/>
                <a:gd name="connsiteY1" fmla="*/ 185737 h 185738"/>
                <a:gd name="connsiteX2" fmla="*/ 0 w 972394"/>
                <a:gd name="connsiteY2" fmla="*/ 185737 h 185738"/>
                <a:gd name="connsiteX3" fmla="*/ 972394 w 972394"/>
                <a:gd name="connsiteY3" fmla="*/ 185738 h 185738"/>
                <a:gd name="connsiteX4" fmla="*/ 865238 w 972394"/>
                <a:gd name="connsiteY4" fmla="*/ 185738 h 185738"/>
                <a:gd name="connsiteX5" fmla="*/ 865238 w 972394"/>
                <a:gd name="connsiteY5" fmla="*/ 1 h 18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2394" h="185738">
                  <a:moveTo>
                    <a:pt x="108000" y="0"/>
                  </a:moveTo>
                  <a:lnTo>
                    <a:pt x="108000" y="185737"/>
                  </a:lnTo>
                  <a:lnTo>
                    <a:pt x="0" y="185737"/>
                  </a:lnTo>
                  <a:close/>
                  <a:moveTo>
                    <a:pt x="972394" y="185738"/>
                  </a:moveTo>
                  <a:lnTo>
                    <a:pt x="865238" y="185738"/>
                  </a:lnTo>
                  <a:lnTo>
                    <a:pt x="865238" y="1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 fontScale="325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4" name="MH_Text_1"/>
            <p:cNvSpPr/>
            <p:nvPr>
              <p:custDataLst>
                <p:tags r:id="rId10"/>
              </p:custDataLst>
            </p:nvPr>
          </p:nvSpPr>
          <p:spPr>
            <a:xfrm>
              <a:off x="277816" y="3144836"/>
              <a:ext cx="3895725" cy="1009650"/>
            </a:xfrm>
            <a:custGeom>
              <a:avLst/>
              <a:gdLst>
                <a:gd name="connsiteX0" fmla="*/ 111132 w 3895725"/>
                <a:gd name="connsiteY0" fmla="*/ 0 h 1009650"/>
                <a:gd name="connsiteX1" fmla="*/ 3895725 w 3895725"/>
                <a:gd name="connsiteY1" fmla="*/ 0 h 1009650"/>
                <a:gd name="connsiteX2" fmla="*/ 3895725 w 3895725"/>
                <a:gd name="connsiteY2" fmla="*/ 1009650 h 1009650"/>
                <a:gd name="connsiteX3" fmla="*/ 111132 w 3895725"/>
                <a:gd name="connsiteY3" fmla="*/ 1009650 h 1009650"/>
                <a:gd name="connsiteX4" fmla="*/ 0 w 3895725"/>
                <a:gd name="connsiteY4" fmla="*/ 898518 h 1009650"/>
                <a:gd name="connsiteX5" fmla="*/ 0 w 3895725"/>
                <a:gd name="connsiteY5" fmla="*/ 111132 h 1009650"/>
                <a:gd name="connsiteX6" fmla="*/ 111132 w 3895725"/>
                <a:gd name="connsiteY6" fmla="*/ 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5725" h="1009650">
                  <a:moveTo>
                    <a:pt x="111132" y="0"/>
                  </a:moveTo>
                  <a:lnTo>
                    <a:pt x="3895725" y="0"/>
                  </a:lnTo>
                  <a:lnTo>
                    <a:pt x="3895725" y="1009650"/>
                  </a:lnTo>
                  <a:lnTo>
                    <a:pt x="111132" y="1009650"/>
                  </a:lnTo>
                  <a:cubicBezTo>
                    <a:pt x="49755" y="1009650"/>
                    <a:pt x="0" y="959895"/>
                    <a:pt x="0" y="898518"/>
                  </a:cubicBezTo>
                  <a:lnTo>
                    <a:pt x="0" y="111132"/>
                  </a:lnTo>
                  <a:cubicBezTo>
                    <a:pt x="0" y="49755"/>
                    <a:pt x="49755" y="0"/>
                    <a:pt x="111132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26000" rIns="8100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思维转型</a:t>
              </a:r>
              <a:endParaRPr kumimoji="0" lang="da-DK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5" name="MH_SubTitle_1"/>
            <p:cNvSpPr/>
            <p:nvPr>
              <p:custDataLst>
                <p:tags r:id="rId11"/>
              </p:custDataLst>
            </p:nvPr>
          </p:nvSpPr>
          <p:spPr>
            <a:xfrm>
              <a:off x="182566" y="3268661"/>
              <a:ext cx="1362075" cy="762000"/>
            </a:xfrm>
            <a:custGeom>
              <a:avLst/>
              <a:gdLst>
                <a:gd name="connsiteX0" fmla="*/ 0 w 1362074"/>
                <a:gd name="connsiteY0" fmla="*/ 0 h 762000"/>
                <a:gd name="connsiteX1" fmla="*/ 981074 w 1362074"/>
                <a:gd name="connsiteY1" fmla="*/ 0 h 762000"/>
                <a:gd name="connsiteX2" fmla="*/ 1362074 w 1362074"/>
                <a:gd name="connsiteY2" fmla="*/ 381000 h 762000"/>
                <a:gd name="connsiteX3" fmla="*/ 981074 w 1362074"/>
                <a:gd name="connsiteY3" fmla="*/ 762000 h 762000"/>
                <a:gd name="connsiteX4" fmla="*/ 0 w 1362074"/>
                <a:gd name="connsiteY4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074" h="762000">
                  <a:moveTo>
                    <a:pt x="0" y="0"/>
                  </a:moveTo>
                  <a:lnTo>
                    <a:pt x="981074" y="0"/>
                  </a:lnTo>
                  <a:cubicBezTo>
                    <a:pt x="1191494" y="0"/>
                    <a:pt x="1362074" y="170580"/>
                    <a:pt x="1362074" y="381000"/>
                  </a:cubicBezTo>
                  <a:cubicBezTo>
                    <a:pt x="1362074" y="591420"/>
                    <a:pt x="1191494" y="762000"/>
                    <a:pt x="981074" y="762000"/>
                  </a:cubicBezTo>
                  <a:lnTo>
                    <a:pt x="0" y="76200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ffectLst>
              <a:outerShdw blurRad="50800" dist="254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换位</a:t>
              </a:r>
              <a:endParaRPr kumimoji="0" lang="en-US" altLang="zh-CN" sz="13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思考</a:t>
              </a:r>
              <a:endParaRPr kumimoji="0" lang="zh-CN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6" name="MH_Other_2"/>
            <p:cNvSpPr/>
            <p:nvPr>
              <p:custDataLst>
                <p:tags r:id="rId12"/>
              </p:custDataLst>
            </p:nvPr>
          </p:nvSpPr>
          <p:spPr>
            <a:xfrm>
              <a:off x="4173541" y="3144836"/>
              <a:ext cx="447675" cy="1009650"/>
            </a:xfrm>
            <a:custGeom>
              <a:avLst/>
              <a:gdLst>
                <a:gd name="connsiteX0" fmla="*/ 0 w 447675"/>
                <a:gd name="connsiteY0" fmla="*/ 0 h 1009650"/>
                <a:gd name="connsiteX1" fmla="*/ 336543 w 447675"/>
                <a:gd name="connsiteY1" fmla="*/ 0 h 1009650"/>
                <a:gd name="connsiteX2" fmla="*/ 447675 w 447675"/>
                <a:gd name="connsiteY2" fmla="*/ 111132 h 1009650"/>
                <a:gd name="connsiteX3" fmla="*/ 447675 w 447675"/>
                <a:gd name="connsiteY3" fmla="*/ 898518 h 1009650"/>
                <a:gd name="connsiteX4" fmla="*/ 336543 w 447675"/>
                <a:gd name="connsiteY4" fmla="*/ 1009650 h 1009650"/>
                <a:gd name="connsiteX5" fmla="*/ 0 w 447675"/>
                <a:gd name="connsiteY5" fmla="*/ 100965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675" h="1009650">
                  <a:moveTo>
                    <a:pt x="0" y="0"/>
                  </a:moveTo>
                  <a:lnTo>
                    <a:pt x="336543" y="0"/>
                  </a:lnTo>
                  <a:cubicBezTo>
                    <a:pt x="397920" y="0"/>
                    <a:pt x="447675" y="49755"/>
                    <a:pt x="447675" y="111132"/>
                  </a:cubicBezTo>
                  <a:lnTo>
                    <a:pt x="447675" y="898518"/>
                  </a:lnTo>
                  <a:cubicBezTo>
                    <a:pt x="447675" y="959895"/>
                    <a:pt x="397920" y="1009650"/>
                    <a:pt x="336543" y="1009650"/>
                  </a:cubicBezTo>
                  <a:lnTo>
                    <a:pt x="0" y="100965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A</a:t>
              </a: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728292" y="2732044"/>
            <a:ext cx="2642673" cy="757238"/>
            <a:chOff x="182565" y="3144836"/>
            <a:chExt cx="4438651" cy="1009650"/>
          </a:xfrm>
        </p:grpSpPr>
        <p:sp>
          <p:nvSpPr>
            <p:cNvPr id="48" name="MH_Other_1"/>
            <p:cNvSpPr/>
            <p:nvPr>
              <p:custDataLst>
                <p:tags r:id="rId5"/>
              </p:custDataLst>
            </p:nvPr>
          </p:nvSpPr>
          <p:spPr>
            <a:xfrm rot="16200000">
              <a:off x="-211135" y="3557586"/>
              <a:ext cx="973138" cy="185738"/>
            </a:xfrm>
            <a:custGeom>
              <a:avLst/>
              <a:gdLst>
                <a:gd name="connsiteX0" fmla="*/ 108000 w 972394"/>
                <a:gd name="connsiteY0" fmla="*/ 0 h 185738"/>
                <a:gd name="connsiteX1" fmla="*/ 108000 w 972394"/>
                <a:gd name="connsiteY1" fmla="*/ 185737 h 185738"/>
                <a:gd name="connsiteX2" fmla="*/ 0 w 972394"/>
                <a:gd name="connsiteY2" fmla="*/ 185737 h 185738"/>
                <a:gd name="connsiteX3" fmla="*/ 972394 w 972394"/>
                <a:gd name="connsiteY3" fmla="*/ 185738 h 185738"/>
                <a:gd name="connsiteX4" fmla="*/ 865238 w 972394"/>
                <a:gd name="connsiteY4" fmla="*/ 185738 h 185738"/>
                <a:gd name="connsiteX5" fmla="*/ 865238 w 972394"/>
                <a:gd name="connsiteY5" fmla="*/ 1 h 18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2394" h="185738">
                  <a:moveTo>
                    <a:pt x="108000" y="0"/>
                  </a:moveTo>
                  <a:lnTo>
                    <a:pt x="108000" y="185737"/>
                  </a:lnTo>
                  <a:lnTo>
                    <a:pt x="0" y="185737"/>
                  </a:lnTo>
                  <a:close/>
                  <a:moveTo>
                    <a:pt x="972394" y="185738"/>
                  </a:moveTo>
                  <a:lnTo>
                    <a:pt x="865238" y="185738"/>
                  </a:lnTo>
                  <a:lnTo>
                    <a:pt x="865238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 fontScale="325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9" name="MH_Text_1"/>
            <p:cNvSpPr/>
            <p:nvPr>
              <p:custDataLst>
                <p:tags r:id="rId6"/>
              </p:custDataLst>
            </p:nvPr>
          </p:nvSpPr>
          <p:spPr>
            <a:xfrm>
              <a:off x="277816" y="3144836"/>
              <a:ext cx="3895725" cy="1009650"/>
            </a:xfrm>
            <a:custGeom>
              <a:avLst/>
              <a:gdLst>
                <a:gd name="connsiteX0" fmla="*/ 111132 w 3895725"/>
                <a:gd name="connsiteY0" fmla="*/ 0 h 1009650"/>
                <a:gd name="connsiteX1" fmla="*/ 3895725 w 3895725"/>
                <a:gd name="connsiteY1" fmla="*/ 0 h 1009650"/>
                <a:gd name="connsiteX2" fmla="*/ 3895725 w 3895725"/>
                <a:gd name="connsiteY2" fmla="*/ 1009650 h 1009650"/>
                <a:gd name="connsiteX3" fmla="*/ 111132 w 3895725"/>
                <a:gd name="connsiteY3" fmla="*/ 1009650 h 1009650"/>
                <a:gd name="connsiteX4" fmla="*/ 0 w 3895725"/>
                <a:gd name="connsiteY4" fmla="*/ 898518 h 1009650"/>
                <a:gd name="connsiteX5" fmla="*/ 0 w 3895725"/>
                <a:gd name="connsiteY5" fmla="*/ 111132 h 1009650"/>
                <a:gd name="connsiteX6" fmla="*/ 111132 w 3895725"/>
                <a:gd name="connsiteY6" fmla="*/ 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5725" h="1009650">
                  <a:moveTo>
                    <a:pt x="111132" y="0"/>
                  </a:moveTo>
                  <a:lnTo>
                    <a:pt x="3895725" y="0"/>
                  </a:lnTo>
                  <a:lnTo>
                    <a:pt x="3895725" y="1009650"/>
                  </a:lnTo>
                  <a:lnTo>
                    <a:pt x="111132" y="1009650"/>
                  </a:lnTo>
                  <a:cubicBezTo>
                    <a:pt x="49755" y="1009650"/>
                    <a:pt x="0" y="959895"/>
                    <a:pt x="0" y="898518"/>
                  </a:cubicBezTo>
                  <a:lnTo>
                    <a:pt x="0" y="111132"/>
                  </a:lnTo>
                  <a:cubicBezTo>
                    <a:pt x="0" y="49755"/>
                    <a:pt x="49755" y="0"/>
                    <a:pt x="111132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26000" rIns="8100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团队协作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0" name="MH_SubTitle_1"/>
            <p:cNvSpPr/>
            <p:nvPr>
              <p:custDataLst>
                <p:tags r:id="rId7"/>
              </p:custDataLst>
            </p:nvPr>
          </p:nvSpPr>
          <p:spPr>
            <a:xfrm>
              <a:off x="182566" y="3268661"/>
              <a:ext cx="1362075" cy="762000"/>
            </a:xfrm>
            <a:custGeom>
              <a:avLst/>
              <a:gdLst>
                <a:gd name="connsiteX0" fmla="*/ 0 w 1362074"/>
                <a:gd name="connsiteY0" fmla="*/ 0 h 762000"/>
                <a:gd name="connsiteX1" fmla="*/ 981074 w 1362074"/>
                <a:gd name="connsiteY1" fmla="*/ 0 h 762000"/>
                <a:gd name="connsiteX2" fmla="*/ 1362074 w 1362074"/>
                <a:gd name="connsiteY2" fmla="*/ 381000 h 762000"/>
                <a:gd name="connsiteX3" fmla="*/ 981074 w 1362074"/>
                <a:gd name="connsiteY3" fmla="*/ 762000 h 762000"/>
                <a:gd name="connsiteX4" fmla="*/ 0 w 1362074"/>
                <a:gd name="connsiteY4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074" h="762000">
                  <a:moveTo>
                    <a:pt x="0" y="0"/>
                  </a:moveTo>
                  <a:lnTo>
                    <a:pt x="981074" y="0"/>
                  </a:lnTo>
                  <a:cubicBezTo>
                    <a:pt x="1191494" y="0"/>
                    <a:pt x="1362074" y="170580"/>
                    <a:pt x="1362074" y="381000"/>
                  </a:cubicBezTo>
                  <a:cubicBezTo>
                    <a:pt x="1362074" y="591420"/>
                    <a:pt x="1191494" y="762000"/>
                    <a:pt x="981074" y="762000"/>
                  </a:cubicBezTo>
                  <a:lnTo>
                    <a:pt x="0" y="76200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254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能力</a:t>
              </a:r>
              <a:endParaRPr kumimoji="0" lang="en-US" altLang="zh-CN" sz="13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提升</a:t>
              </a:r>
              <a:endParaRPr kumimoji="0" lang="zh-CN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1" name="MH_Other_2"/>
            <p:cNvSpPr/>
            <p:nvPr>
              <p:custDataLst>
                <p:tags r:id="rId8"/>
              </p:custDataLst>
            </p:nvPr>
          </p:nvSpPr>
          <p:spPr>
            <a:xfrm>
              <a:off x="4173541" y="3144836"/>
              <a:ext cx="447675" cy="1009650"/>
            </a:xfrm>
            <a:custGeom>
              <a:avLst/>
              <a:gdLst>
                <a:gd name="connsiteX0" fmla="*/ 0 w 447675"/>
                <a:gd name="connsiteY0" fmla="*/ 0 h 1009650"/>
                <a:gd name="connsiteX1" fmla="*/ 336543 w 447675"/>
                <a:gd name="connsiteY1" fmla="*/ 0 h 1009650"/>
                <a:gd name="connsiteX2" fmla="*/ 447675 w 447675"/>
                <a:gd name="connsiteY2" fmla="*/ 111132 h 1009650"/>
                <a:gd name="connsiteX3" fmla="*/ 447675 w 447675"/>
                <a:gd name="connsiteY3" fmla="*/ 898518 h 1009650"/>
                <a:gd name="connsiteX4" fmla="*/ 336543 w 447675"/>
                <a:gd name="connsiteY4" fmla="*/ 1009650 h 1009650"/>
                <a:gd name="connsiteX5" fmla="*/ 0 w 447675"/>
                <a:gd name="connsiteY5" fmla="*/ 100965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675" h="1009650">
                  <a:moveTo>
                    <a:pt x="0" y="0"/>
                  </a:moveTo>
                  <a:lnTo>
                    <a:pt x="336543" y="0"/>
                  </a:lnTo>
                  <a:cubicBezTo>
                    <a:pt x="397920" y="0"/>
                    <a:pt x="447675" y="49755"/>
                    <a:pt x="447675" y="111132"/>
                  </a:cubicBezTo>
                  <a:lnTo>
                    <a:pt x="447675" y="898518"/>
                  </a:lnTo>
                  <a:cubicBezTo>
                    <a:pt x="447675" y="959895"/>
                    <a:pt x="397920" y="1009650"/>
                    <a:pt x="336543" y="1009650"/>
                  </a:cubicBezTo>
                  <a:lnTo>
                    <a:pt x="0" y="100965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B</a:t>
              </a: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</p:grpSp>
      <p:cxnSp>
        <p:nvCxnSpPr>
          <p:cNvPr id="55" name="直接连接符 54"/>
          <p:cNvCxnSpPr/>
          <p:nvPr/>
        </p:nvCxnSpPr>
        <p:spPr>
          <a:xfrm flipV="1">
            <a:off x="3703354" y="3468854"/>
            <a:ext cx="7343337" cy="14661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6" name="直接连接符 55"/>
          <p:cNvCxnSpPr/>
          <p:nvPr/>
        </p:nvCxnSpPr>
        <p:spPr>
          <a:xfrm flipV="1">
            <a:off x="3703354" y="4742245"/>
            <a:ext cx="7343337" cy="14661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圆角矩形 57"/>
          <p:cNvSpPr/>
          <p:nvPr/>
        </p:nvSpPr>
        <p:spPr>
          <a:xfrm>
            <a:off x="3703354" y="2701239"/>
            <a:ext cx="7376150" cy="818847"/>
          </a:xfrm>
          <a:prstGeom prst="roundRect">
            <a:avLst/>
          </a:prstGeom>
          <a:ln>
            <a:noFill/>
          </a:ln>
        </p:spPr>
        <p:txBody>
          <a:bodyPr wrap="none" lIns="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1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沟通协调能力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2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项目风险评估管理能力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</p:txBody>
      </p:sp>
      <p:grpSp>
        <p:nvGrpSpPr>
          <p:cNvPr id="59" name="组合 58"/>
          <p:cNvGrpSpPr/>
          <p:nvPr/>
        </p:nvGrpSpPr>
        <p:grpSpPr>
          <a:xfrm>
            <a:off x="728292" y="4005465"/>
            <a:ext cx="2642673" cy="757238"/>
            <a:chOff x="182564" y="5737225"/>
            <a:chExt cx="4438651" cy="1009650"/>
          </a:xfrm>
        </p:grpSpPr>
        <p:sp>
          <p:nvSpPr>
            <p:cNvPr id="60" name="MH_Other_5"/>
            <p:cNvSpPr/>
            <p:nvPr>
              <p:custDataLst>
                <p:tags r:id="rId1"/>
              </p:custDataLst>
            </p:nvPr>
          </p:nvSpPr>
          <p:spPr>
            <a:xfrm rot="16200000">
              <a:off x="-211136" y="6149975"/>
              <a:ext cx="973138" cy="185738"/>
            </a:xfrm>
            <a:custGeom>
              <a:avLst/>
              <a:gdLst>
                <a:gd name="connsiteX0" fmla="*/ 108000 w 972394"/>
                <a:gd name="connsiteY0" fmla="*/ 0 h 185738"/>
                <a:gd name="connsiteX1" fmla="*/ 108000 w 972394"/>
                <a:gd name="connsiteY1" fmla="*/ 185737 h 185738"/>
                <a:gd name="connsiteX2" fmla="*/ 0 w 972394"/>
                <a:gd name="connsiteY2" fmla="*/ 185737 h 185738"/>
                <a:gd name="connsiteX3" fmla="*/ 972394 w 972394"/>
                <a:gd name="connsiteY3" fmla="*/ 185738 h 185738"/>
                <a:gd name="connsiteX4" fmla="*/ 865238 w 972394"/>
                <a:gd name="connsiteY4" fmla="*/ 185738 h 185738"/>
                <a:gd name="connsiteX5" fmla="*/ 865238 w 972394"/>
                <a:gd name="connsiteY5" fmla="*/ 1 h 18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2394" h="185738">
                  <a:moveTo>
                    <a:pt x="108000" y="0"/>
                  </a:moveTo>
                  <a:lnTo>
                    <a:pt x="108000" y="185737"/>
                  </a:lnTo>
                  <a:lnTo>
                    <a:pt x="0" y="185737"/>
                  </a:lnTo>
                  <a:close/>
                  <a:moveTo>
                    <a:pt x="972394" y="185738"/>
                  </a:moveTo>
                  <a:lnTo>
                    <a:pt x="865238" y="185738"/>
                  </a:lnTo>
                  <a:lnTo>
                    <a:pt x="865238" y="1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 fontScale="325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1" name="MH_Text_3"/>
            <p:cNvSpPr/>
            <p:nvPr>
              <p:custDataLst>
                <p:tags r:id="rId2"/>
              </p:custDataLst>
            </p:nvPr>
          </p:nvSpPr>
          <p:spPr>
            <a:xfrm>
              <a:off x="277815" y="5737225"/>
              <a:ext cx="3895725" cy="1009650"/>
            </a:xfrm>
            <a:custGeom>
              <a:avLst/>
              <a:gdLst>
                <a:gd name="connsiteX0" fmla="*/ 111132 w 3895725"/>
                <a:gd name="connsiteY0" fmla="*/ 0 h 1009650"/>
                <a:gd name="connsiteX1" fmla="*/ 3895725 w 3895725"/>
                <a:gd name="connsiteY1" fmla="*/ 0 h 1009650"/>
                <a:gd name="connsiteX2" fmla="*/ 3895725 w 3895725"/>
                <a:gd name="connsiteY2" fmla="*/ 1009650 h 1009650"/>
                <a:gd name="connsiteX3" fmla="*/ 111132 w 3895725"/>
                <a:gd name="connsiteY3" fmla="*/ 1009650 h 1009650"/>
                <a:gd name="connsiteX4" fmla="*/ 0 w 3895725"/>
                <a:gd name="connsiteY4" fmla="*/ 898518 h 1009650"/>
                <a:gd name="connsiteX5" fmla="*/ 0 w 3895725"/>
                <a:gd name="connsiteY5" fmla="*/ 111132 h 1009650"/>
                <a:gd name="connsiteX6" fmla="*/ 111132 w 3895725"/>
                <a:gd name="connsiteY6" fmla="*/ 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5725" h="1009650">
                  <a:moveTo>
                    <a:pt x="111132" y="0"/>
                  </a:moveTo>
                  <a:lnTo>
                    <a:pt x="3895725" y="0"/>
                  </a:lnTo>
                  <a:lnTo>
                    <a:pt x="3895725" y="1009650"/>
                  </a:lnTo>
                  <a:lnTo>
                    <a:pt x="111132" y="1009650"/>
                  </a:lnTo>
                  <a:cubicBezTo>
                    <a:pt x="49755" y="1009650"/>
                    <a:pt x="0" y="959895"/>
                    <a:pt x="0" y="898518"/>
                  </a:cubicBezTo>
                  <a:lnTo>
                    <a:pt x="0" y="111132"/>
                  </a:lnTo>
                  <a:cubicBezTo>
                    <a:pt x="0" y="49755"/>
                    <a:pt x="49755" y="0"/>
                    <a:pt x="111132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26000" rIns="8100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未来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规划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2" name="MH_SubTitle_3"/>
            <p:cNvSpPr/>
            <p:nvPr>
              <p:custDataLst>
                <p:tags r:id="rId3"/>
              </p:custDataLst>
            </p:nvPr>
          </p:nvSpPr>
          <p:spPr>
            <a:xfrm>
              <a:off x="182565" y="5861050"/>
              <a:ext cx="1362075" cy="762000"/>
            </a:xfrm>
            <a:custGeom>
              <a:avLst/>
              <a:gdLst>
                <a:gd name="connsiteX0" fmla="*/ 0 w 1362074"/>
                <a:gd name="connsiteY0" fmla="*/ 0 h 762000"/>
                <a:gd name="connsiteX1" fmla="*/ 981074 w 1362074"/>
                <a:gd name="connsiteY1" fmla="*/ 0 h 762000"/>
                <a:gd name="connsiteX2" fmla="*/ 1362074 w 1362074"/>
                <a:gd name="connsiteY2" fmla="*/ 381000 h 762000"/>
                <a:gd name="connsiteX3" fmla="*/ 981074 w 1362074"/>
                <a:gd name="connsiteY3" fmla="*/ 762000 h 762000"/>
                <a:gd name="connsiteX4" fmla="*/ 0 w 1362074"/>
                <a:gd name="connsiteY4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074" h="762000">
                  <a:moveTo>
                    <a:pt x="0" y="0"/>
                  </a:moveTo>
                  <a:lnTo>
                    <a:pt x="981074" y="0"/>
                  </a:lnTo>
                  <a:cubicBezTo>
                    <a:pt x="1191494" y="0"/>
                    <a:pt x="1362074" y="170580"/>
                    <a:pt x="1362074" y="381000"/>
                  </a:cubicBezTo>
                  <a:cubicBezTo>
                    <a:pt x="1362074" y="591420"/>
                    <a:pt x="1191494" y="762000"/>
                    <a:pt x="981074" y="762000"/>
                  </a:cubicBezTo>
                  <a:lnTo>
                    <a:pt x="0" y="762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0800" dist="254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前景</a:t>
              </a:r>
              <a:endParaRPr kumimoji="0" lang="en-US" altLang="zh-CN" sz="13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展望</a:t>
              </a:r>
              <a:endParaRPr kumimoji="0" lang="zh-CN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3" name="MH_Other_6"/>
            <p:cNvSpPr/>
            <p:nvPr>
              <p:custDataLst>
                <p:tags r:id="rId4"/>
              </p:custDataLst>
            </p:nvPr>
          </p:nvSpPr>
          <p:spPr>
            <a:xfrm>
              <a:off x="4173540" y="5737225"/>
              <a:ext cx="447675" cy="1009650"/>
            </a:xfrm>
            <a:custGeom>
              <a:avLst/>
              <a:gdLst>
                <a:gd name="connsiteX0" fmla="*/ 0 w 447675"/>
                <a:gd name="connsiteY0" fmla="*/ 0 h 1009650"/>
                <a:gd name="connsiteX1" fmla="*/ 336543 w 447675"/>
                <a:gd name="connsiteY1" fmla="*/ 0 h 1009650"/>
                <a:gd name="connsiteX2" fmla="*/ 447675 w 447675"/>
                <a:gd name="connsiteY2" fmla="*/ 111132 h 1009650"/>
                <a:gd name="connsiteX3" fmla="*/ 447675 w 447675"/>
                <a:gd name="connsiteY3" fmla="*/ 898518 h 1009650"/>
                <a:gd name="connsiteX4" fmla="*/ 336543 w 447675"/>
                <a:gd name="connsiteY4" fmla="*/ 1009650 h 1009650"/>
                <a:gd name="connsiteX5" fmla="*/ 0 w 447675"/>
                <a:gd name="connsiteY5" fmla="*/ 100965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675" h="1009650">
                  <a:moveTo>
                    <a:pt x="0" y="0"/>
                  </a:moveTo>
                  <a:lnTo>
                    <a:pt x="336543" y="0"/>
                  </a:lnTo>
                  <a:cubicBezTo>
                    <a:pt x="397920" y="0"/>
                    <a:pt x="447675" y="49755"/>
                    <a:pt x="447675" y="111132"/>
                  </a:cubicBezTo>
                  <a:lnTo>
                    <a:pt x="447675" y="898518"/>
                  </a:lnTo>
                  <a:cubicBezTo>
                    <a:pt x="447675" y="959895"/>
                    <a:pt x="397920" y="1009650"/>
                    <a:pt x="336543" y="1009650"/>
                  </a:cubicBezTo>
                  <a:lnTo>
                    <a:pt x="0" y="100965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C</a:t>
              </a: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0944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1785257" y="544286"/>
            <a:ext cx="9448800" cy="6106884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4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1992086" y="1355216"/>
            <a:ext cx="4298141" cy="3160091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5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3200506" y="1458622"/>
            <a:ext cx="25393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通用</a:t>
            </a:r>
            <a:r>
              <a:rPr kumimoji="0" lang="en-US" altLang="zh-CN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SAAS</a:t>
            </a: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产品质量保障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7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1992086" y="4721603"/>
            <a:ext cx="4298141" cy="1696627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8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3450318" y="4833695"/>
            <a:ext cx="17781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稳定性和高可用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5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1992086" y="881070"/>
            <a:ext cx="794492" cy="277023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建设中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6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917371" y="881070"/>
            <a:ext cx="794492" cy="277023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accent4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规划中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7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842656" y="881070"/>
            <a:ext cx="794492" cy="277023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规划待建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grpSp>
        <p:nvGrpSpPr>
          <p:cNvPr id="66" name="组合 65"/>
          <p:cNvGrpSpPr/>
          <p:nvPr/>
        </p:nvGrpSpPr>
        <p:grpSpPr>
          <a:xfrm>
            <a:off x="6499780" y="731930"/>
            <a:ext cx="4490220" cy="1627852"/>
            <a:chOff x="6499780" y="718458"/>
            <a:chExt cx="4490220" cy="1627852"/>
          </a:xfrm>
        </p:grpSpPr>
        <p:sp>
          <p:nvSpPr>
            <p:cNvPr id="4" name="!!storage">
              <a:extLst>
                <a:ext uri="{FF2B5EF4-FFF2-40B4-BE49-F238E27FC236}">
                  <a16:creationId xmlns:a16="http://schemas.microsoft.com/office/drawing/2014/main" id="{76DE79E0-C2DA-44DB-BD67-F5105223B411}"/>
                </a:ext>
              </a:extLst>
            </p:cNvPr>
            <p:cNvSpPr/>
            <p:nvPr/>
          </p:nvSpPr>
          <p:spPr>
            <a:xfrm>
              <a:off x="6499780" y="718458"/>
              <a:ext cx="4490220" cy="1627852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5" name="文本框 135">
              <a:extLst>
                <a:ext uri="{FF2B5EF4-FFF2-40B4-BE49-F238E27FC236}">
                  <a16:creationId xmlns:a16="http://schemas.microsoft.com/office/drawing/2014/main" id="{889CD8C0-BD93-4287-A847-309863CC879A}"/>
                </a:ext>
              </a:extLst>
            </p:cNvPr>
            <p:cNvSpPr txBox="1"/>
            <p:nvPr/>
          </p:nvSpPr>
          <p:spPr>
            <a:xfrm>
              <a:off x="8112191" y="826320"/>
              <a:ext cx="162537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产品健壮性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9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6618697" y="1270878"/>
              <a:ext cx="2039192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377">
                <a:defRPr/>
              </a:pPr>
              <a:r>
                <a:rPr lang="zh-CN" altLang="en-US" sz="11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私有化</a:t>
              </a:r>
              <a:r>
                <a:rPr lang="zh-CN" altLang="en-US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部署部署</a:t>
              </a:r>
              <a:r>
                <a:rPr lang="zh-CN" altLang="en-US" sz="11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操作系统兼容</a:t>
              </a:r>
              <a:endPara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0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8815147" y="1287314"/>
              <a:ext cx="2039192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377">
                <a:defRPr/>
              </a:pPr>
              <a:r>
                <a:rPr lang="zh-CN" altLang="en-US" sz="110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私有化部署升级回滚兼容</a:t>
              </a:r>
              <a:endPara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1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6618697" y="1798596"/>
              <a:ext cx="2039192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377">
                <a:defRPr/>
              </a:pPr>
              <a:r>
                <a:rPr lang="zh-CN" altLang="en-US" sz="110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国际化版本中英文兼容</a:t>
              </a:r>
              <a:endPara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2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8821340" y="1798596"/>
              <a:ext cx="2032999" cy="379874"/>
            </a:xfrm>
            <a:prstGeom prst="roundRect">
              <a:avLst/>
            </a:prstGeom>
            <a:solidFill>
              <a:schemeClr val="bg2"/>
            </a:solidFill>
            <a:ln w="3175">
              <a:solidFill>
                <a:schemeClr val="bg2">
                  <a:lumMod val="90000"/>
                </a:schemeClr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377">
                <a:defRPr/>
              </a:pPr>
              <a:r>
                <a:rPr lang="zh-CN" altLang="en-US" sz="110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浏览器兼容</a:t>
              </a:r>
              <a:endPara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6499780" y="2504382"/>
            <a:ext cx="4490220" cy="3913848"/>
            <a:chOff x="6497073" y="2606696"/>
            <a:chExt cx="4490220" cy="3913848"/>
          </a:xfrm>
        </p:grpSpPr>
        <p:sp>
          <p:nvSpPr>
            <p:cNvPr id="20" name="!!storage">
              <a:extLst>
                <a:ext uri="{FF2B5EF4-FFF2-40B4-BE49-F238E27FC236}">
                  <a16:creationId xmlns:a16="http://schemas.microsoft.com/office/drawing/2014/main" id="{76DE79E0-C2DA-44DB-BD67-F5105223B411}"/>
                </a:ext>
              </a:extLst>
            </p:cNvPr>
            <p:cNvSpPr/>
            <p:nvPr/>
          </p:nvSpPr>
          <p:spPr>
            <a:xfrm>
              <a:off x="6497073" y="2606696"/>
              <a:ext cx="4490220" cy="39138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3" name="!!storage">
              <a:extLst>
                <a:ext uri="{FF2B5EF4-FFF2-40B4-BE49-F238E27FC236}">
                  <a16:creationId xmlns:a16="http://schemas.microsoft.com/office/drawing/2014/main" id="{76DE79E0-C2DA-44DB-BD67-F5105223B411}"/>
                </a:ext>
              </a:extLst>
            </p:cNvPr>
            <p:cNvSpPr/>
            <p:nvPr/>
          </p:nvSpPr>
          <p:spPr>
            <a:xfrm>
              <a:off x="6870329" y="2988921"/>
              <a:ext cx="3743710" cy="139907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4" name="文本框 135">
              <a:extLst>
                <a:ext uri="{FF2B5EF4-FFF2-40B4-BE49-F238E27FC236}">
                  <a16:creationId xmlns:a16="http://schemas.microsoft.com/office/drawing/2014/main" id="{889CD8C0-BD93-4287-A847-309863CC879A}"/>
                </a:ext>
              </a:extLst>
            </p:cNvPr>
            <p:cNvSpPr txBox="1"/>
            <p:nvPr/>
          </p:nvSpPr>
          <p:spPr>
            <a:xfrm>
              <a:off x="7997891" y="2606696"/>
              <a:ext cx="185397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自动化和专项工具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1" name="文本框 135">
              <a:extLst>
                <a:ext uri="{FF2B5EF4-FFF2-40B4-BE49-F238E27FC236}">
                  <a16:creationId xmlns:a16="http://schemas.microsoft.com/office/drawing/2014/main" id="{889CD8C0-BD93-4287-A847-309863CC879A}"/>
                </a:ext>
              </a:extLst>
            </p:cNvPr>
            <p:cNvSpPr txBox="1"/>
            <p:nvPr/>
          </p:nvSpPr>
          <p:spPr>
            <a:xfrm>
              <a:off x="8233846" y="3047781"/>
              <a:ext cx="13820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自动化相关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6" name="!!storage">
              <a:extLst>
                <a:ext uri="{FF2B5EF4-FFF2-40B4-BE49-F238E27FC236}">
                  <a16:creationId xmlns:a16="http://schemas.microsoft.com/office/drawing/2014/main" id="{76DE79E0-C2DA-44DB-BD67-F5105223B411}"/>
                </a:ext>
              </a:extLst>
            </p:cNvPr>
            <p:cNvSpPr/>
            <p:nvPr/>
          </p:nvSpPr>
          <p:spPr>
            <a:xfrm>
              <a:off x="6870329" y="4509875"/>
              <a:ext cx="3743710" cy="1903966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7" name="文本框 135">
              <a:extLst>
                <a:ext uri="{FF2B5EF4-FFF2-40B4-BE49-F238E27FC236}">
                  <a16:creationId xmlns:a16="http://schemas.microsoft.com/office/drawing/2014/main" id="{889CD8C0-BD93-4287-A847-309863CC879A}"/>
                </a:ext>
              </a:extLst>
            </p:cNvPr>
            <p:cNvSpPr txBox="1"/>
            <p:nvPr/>
          </p:nvSpPr>
          <p:spPr>
            <a:xfrm>
              <a:off x="8344938" y="4577962"/>
              <a:ext cx="97054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专项工具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8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133685" y="4933150"/>
              <a:ext cx="1534093" cy="379874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chemeClr val="accent4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性能测试工具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9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133685" y="5418369"/>
              <a:ext cx="1534093" cy="379874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chemeClr val="accent4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造数工具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40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8931133" y="4941005"/>
              <a:ext cx="1533600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效果评测工具</a:t>
              </a:r>
              <a:endParaRPr 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41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8931133" y="5408221"/>
              <a:ext cx="1533600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私有化验收工具</a:t>
              </a:r>
              <a:endParaRPr 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22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844180" y="5913144"/>
              <a:ext cx="1796007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自动化接口测试</a:t>
              </a:r>
              <a:r>
                <a:rPr lang="zh-CN" altLang="en-US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提效工具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43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489370" y="3402969"/>
              <a:ext cx="2706137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en-US" altLang="zh-CN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AI</a:t>
              </a:r>
              <a:r>
                <a:rPr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应用产品自动化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44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489369" y="3903687"/>
              <a:ext cx="2706137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人脸产品自动化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</p:grpSp>
      <p:sp>
        <p:nvSpPr>
          <p:cNvPr id="46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353623" y="5299439"/>
            <a:ext cx="1569996" cy="37987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故障注入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7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3304031" y="1820804"/>
            <a:ext cx="2849281" cy="1094584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8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2237452" y="2137858"/>
            <a:ext cx="13820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用产品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450318" y="1934113"/>
            <a:ext cx="1151736" cy="379874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灵犀智能体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0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853276" y="1932487"/>
            <a:ext cx="1152000" cy="379874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数字人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1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450054" y="2410290"/>
            <a:ext cx="1152000" cy="379874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智能外呼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3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853276" y="2402538"/>
            <a:ext cx="1152000" cy="379874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星云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4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3304031" y="3039888"/>
            <a:ext cx="2849281" cy="606827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5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2218482" y="3191657"/>
            <a:ext cx="950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人脸产品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6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450054" y="3155608"/>
            <a:ext cx="1152000" cy="379874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认证中心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853276" y="3143456"/>
            <a:ext cx="1152000" cy="379874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公有云人脸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0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2237452" y="3920059"/>
            <a:ext cx="13820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低代码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5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3304032" y="3782418"/>
            <a:ext cx="2849280" cy="6084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1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450187" y="3889618"/>
            <a:ext cx="1152000" cy="379874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小程序低代码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7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339378" y="5299439"/>
            <a:ext cx="1569996" cy="37987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应急演练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8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353623" y="5891704"/>
            <a:ext cx="1569996" cy="37987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健康检查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339378" y="5904708"/>
            <a:ext cx="1569996" cy="37987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故障转移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07205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PP_MARK_KEY" val="640e8c74-3725-41b3-b787-53dc2709485e"/>
  <p:tag name="COMMONDATA" val="eyJoZGlkIjoiMjNmZWZiY2E1NGVhOTUxMTMzMWIwYjQ3MmVkNjQ4MDA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Text"/>
  <p:tag name="MH_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SubTitle"/>
  <p:tag name="MH_ORDE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Text"/>
  <p:tag name="MH_ORDER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SubTitle"/>
  <p:tag name="MH_ORDER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Text"/>
  <p:tag name="MH_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SubTitle"/>
  <p:tag name="MH_ORDER" val="1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60主题1">
  <a:themeElements>
    <a:clrScheme name="气流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C8450"/>
      </a:accent1>
      <a:accent2>
        <a:srgbClr val="27BB69"/>
      </a:accent2>
      <a:accent3>
        <a:srgbClr val="24A6DC"/>
      </a:accent3>
      <a:accent4>
        <a:srgbClr val="E3514B"/>
      </a:accent4>
      <a:accent5>
        <a:srgbClr val="838079"/>
      </a:accent5>
      <a:accent6>
        <a:srgbClr val="B3B3B3"/>
      </a:accent6>
      <a:hlink>
        <a:srgbClr val="4472C4"/>
      </a:hlink>
      <a:folHlink>
        <a:srgbClr val="BFBFBF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  <a:prstDash val="solid"/>
        </a:ln>
      </a:spPr>
      <a:bodyPr rtlCol="0" anchor="t"/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100" noProof="0" dirty="0">
            <a:solidFill>
              <a:schemeClr val="tx1"/>
            </a:solidFill>
            <a:latin typeface="幼圆" panose="02010509060101010101" pitchFamily="49" charset="-122"/>
            <a:ea typeface="幼圆" panose="02010509060101010101" pitchFamily="49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360主题1" id="{4225B6B1-3B77-498C-87AB-2CB29C99590B}" vid="{543D8FFF-9103-4C0E-BA0A-BC11B31F9915}"/>
    </a:ext>
  </a:extLst>
</a:theme>
</file>

<file path=ppt/theme/theme3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47</TotalTime>
  <Words>1887</Words>
  <Application>Microsoft Office PowerPoint</Application>
  <PresentationFormat>宽屏</PresentationFormat>
  <Paragraphs>270</Paragraphs>
  <Slides>7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28" baseType="lpstr">
      <vt:lpstr>Arial Unicode MS</vt:lpstr>
      <vt:lpstr>Hiragino Sans GB W3</vt:lpstr>
      <vt:lpstr>Microsoft YaHei Light</vt:lpstr>
      <vt:lpstr>等线</vt:lpstr>
      <vt:lpstr>等线 Light</vt:lpstr>
      <vt:lpstr>方正兰亭粗黑简体</vt:lpstr>
      <vt:lpstr>方正兰亭黑简体</vt:lpstr>
      <vt:lpstr>方正兰亭中黑_GBK</vt:lpstr>
      <vt:lpstr>方正兰亭准黑_GBK</vt:lpstr>
      <vt:lpstr>宋体</vt:lpstr>
      <vt:lpstr>Microsoft YaHei</vt:lpstr>
      <vt:lpstr>Microsoft YaHei</vt:lpstr>
      <vt:lpstr>微软雅黑 Light</vt:lpstr>
      <vt:lpstr>幼圆</vt:lpstr>
      <vt:lpstr>Arial</vt:lpstr>
      <vt:lpstr>Segoe UI</vt:lpstr>
      <vt:lpstr>Wingdings</vt:lpstr>
      <vt:lpstr>Office 主题​​</vt:lpstr>
      <vt:lpstr>360主题1</vt:lpstr>
      <vt:lpstr>1_Office 主题​​</vt:lpstr>
      <vt:lpstr>think-cell 幻灯片</vt:lpstr>
      <vt:lpstr>PowerPoint 演示文稿</vt:lpstr>
      <vt:lpstr>自动化测试解耦--解析研判工具</vt:lpstr>
      <vt:lpstr>自动化测试工具-问答结果相似度测试</vt:lpstr>
      <vt:lpstr>自动化测试工具-问答结果相似度测试</vt:lpstr>
      <vt:lpstr>问题解决逻辑举例</vt:lpstr>
      <vt:lpstr>PowerPoint 演示文稿</vt:lpstr>
      <vt:lpstr>PowerPoint 演示文稿</vt:lpstr>
    </vt:vector>
  </TitlesOfParts>
  <Company>360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张登峰</dc:creator>
  <cp:lastModifiedBy>张登峰</cp:lastModifiedBy>
  <cp:revision>323</cp:revision>
  <dcterms:created xsi:type="dcterms:W3CDTF">2022-10-17T04:42:00Z</dcterms:created>
  <dcterms:modified xsi:type="dcterms:W3CDTF">2025-01-20T05:1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BF70619E007A427287340D5819DC02F5</vt:lpwstr>
  </property>
  <property fmtid="{D5CDD505-2E9C-101B-9397-08002B2CF9AE}" pid="3" name="KSOProductBuildVer">
    <vt:lpwstr>2052-11.1.0.12763</vt:lpwstr>
  </property>
</Properties>
</file>